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2" r:id="rId1"/>
  </p:sldMasterIdLst>
  <p:notesMasterIdLst>
    <p:notesMasterId r:id="rId6"/>
  </p:notesMasterIdLst>
  <p:handoutMasterIdLst>
    <p:handoutMasterId r:id="rId7"/>
  </p:handoutMasterIdLst>
  <p:sldIdLst>
    <p:sldId id="343" r:id="rId2"/>
    <p:sldId id="283" r:id="rId3"/>
    <p:sldId id="332" r:id="rId4"/>
    <p:sldId id="315" r:id="rId5"/>
  </p:sldIdLst>
  <p:sldSz cx="7559675" cy="10691813"/>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2B5"/>
    <a:srgbClr val="E14726"/>
    <a:srgbClr val="083F59"/>
    <a:srgbClr val="30583F"/>
    <a:srgbClr val="ECECEC"/>
    <a:srgbClr val="17AAA3"/>
    <a:srgbClr val="FEC713"/>
    <a:srgbClr val="28ACE2"/>
    <a:srgbClr val="702E8C"/>
    <a:srgbClr val="10B1A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98"/>
    <p:restoredTop sz="96281"/>
  </p:normalViewPr>
  <p:slideViewPr>
    <p:cSldViewPr snapToGrid="0" snapToObjects="1">
      <p:cViewPr varScale="1">
        <p:scale>
          <a:sx n="68" d="100"/>
          <a:sy n="68" d="100"/>
        </p:scale>
        <p:origin x="2685" y="43"/>
      </p:cViewPr>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p:cViewPr varScale="1">
        <p:scale>
          <a:sx n="71" d="100"/>
          <a:sy n="71" d="100"/>
        </p:scale>
        <p:origin x="2216"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FFF78E-3B04-FE4F-85E4-FB87D6B9A4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3908042-54F6-9949-B2D5-C733231D0E3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5550E7B-E2E1-1744-BAC5-2450DC2C9399}" type="datetimeFigureOut">
              <a:rPr lang="en-US" smtClean="0"/>
              <a:t>8/28/2024</a:t>
            </a:fld>
            <a:endParaRPr lang="en-US"/>
          </a:p>
        </p:txBody>
      </p:sp>
      <p:sp>
        <p:nvSpPr>
          <p:cNvPr id="4" name="Footer Placeholder 3">
            <a:extLst>
              <a:ext uri="{FF2B5EF4-FFF2-40B4-BE49-F238E27FC236}">
                <a16:creationId xmlns:a16="http://schemas.microsoft.com/office/drawing/2014/main" id="{98743CD1-246B-1B4E-B06F-70FF7555959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B7CFDFA-E6F2-274F-847F-9E38145183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FD034A-BE7D-944A-B2C4-153631F39F58}" type="slidenum">
              <a:rPr lang="en-US" smtClean="0"/>
              <a:t>‹Nr.›</a:t>
            </a:fld>
            <a:endParaRPr lang="en-US"/>
          </a:p>
        </p:txBody>
      </p:sp>
    </p:spTree>
    <p:extLst>
      <p:ext uri="{BB962C8B-B14F-4D97-AF65-F5344CB8AC3E}">
        <p14:creationId xmlns:p14="http://schemas.microsoft.com/office/powerpoint/2010/main" val="324083537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F38278-3754-D043-970B-705C24BA7B0D}" type="datetimeFigureOut">
              <a:rPr lang="en-US" smtClean="0"/>
              <a:t>8/28/2024</a:t>
            </a:fld>
            <a:endParaRPr lang="en-US"/>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33B2F-6662-2B4E-A57B-B009C830B425}" type="slidenum">
              <a:rPr lang="en-US" smtClean="0"/>
              <a:t>‹Nr.›</a:t>
            </a:fld>
            <a:endParaRPr lang="en-US"/>
          </a:p>
        </p:txBody>
      </p:sp>
    </p:spTree>
    <p:extLst>
      <p:ext uri="{BB962C8B-B14F-4D97-AF65-F5344CB8AC3E}">
        <p14:creationId xmlns:p14="http://schemas.microsoft.com/office/powerpoint/2010/main" val="33049598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quote/photo slide 1">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A80038FA-CD6D-8513-8C53-C3D2F13E4F6D}"/>
              </a:ext>
            </a:extLst>
          </p:cNvPr>
          <p:cNvSpPr/>
          <p:nvPr userDrawn="1"/>
        </p:nvSpPr>
        <p:spPr>
          <a:xfrm>
            <a:off x="3661740" y="583659"/>
            <a:ext cx="3554388" cy="9004477"/>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5" name="Text Placeholder 32">
            <a:extLst>
              <a:ext uri="{FF2B5EF4-FFF2-40B4-BE49-F238E27FC236}">
                <a16:creationId xmlns:a16="http://schemas.microsoft.com/office/drawing/2014/main" id="{EEBE68BB-D0CA-7387-77D4-8382DE95C606}"/>
              </a:ext>
            </a:extLst>
          </p:cNvPr>
          <p:cNvSpPr>
            <a:spLocks noGrp="1"/>
          </p:cNvSpPr>
          <p:nvPr>
            <p:ph type="body" sz="quarter" idx="52" hasCustomPrompt="1"/>
          </p:nvPr>
        </p:nvSpPr>
        <p:spPr>
          <a:xfrm>
            <a:off x="3911744" y="3830366"/>
            <a:ext cx="3098165" cy="238796"/>
          </a:xfrm>
          <a:prstGeom prst="rect">
            <a:avLst/>
          </a:prstGeom>
        </p:spPr>
        <p:txBody>
          <a:bodyPr numCol="1" spcCol="288000" anchor="t">
            <a:noAutofit/>
          </a:bodyPr>
          <a:lstStyle>
            <a:lvl1pPr marL="0" indent="0" algn="ctr">
              <a:lnSpc>
                <a:spcPct val="100000"/>
              </a:lnSpc>
              <a:spcBef>
                <a:spcPts val="0"/>
              </a:spcBef>
              <a:buNone/>
              <a:defRPr sz="11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 Company</a:t>
            </a:r>
            <a:endParaRPr lang="en-US" dirty="0"/>
          </a:p>
        </p:txBody>
      </p:sp>
      <p:sp>
        <p:nvSpPr>
          <p:cNvPr id="6" name="Text Placeholder 23">
            <a:extLst>
              <a:ext uri="{FF2B5EF4-FFF2-40B4-BE49-F238E27FC236}">
                <a16:creationId xmlns:a16="http://schemas.microsoft.com/office/drawing/2014/main" id="{DA5E7207-2C22-7EC3-F7D7-F49B46327D53}"/>
              </a:ext>
            </a:extLst>
          </p:cNvPr>
          <p:cNvSpPr>
            <a:spLocks noGrp="1"/>
          </p:cNvSpPr>
          <p:nvPr>
            <p:ph type="body" sz="quarter" idx="13" hasCustomPrompt="1"/>
          </p:nvPr>
        </p:nvSpPr>
        <p:spPr>
          <a:xfrm>
            <a:off x="3949091" y="1698869"/>
            <a:ext cx="3023471" cy="1848158"/>
          </a:xfrm>
          <a:prstGeom prst="rect">
            <a:avLst/>
          </a:prstGeom>
        </p:spPr>
        <p:txBody>
          <a:bodyPr anchor="ctr">
            <a:normAutofit/>
          </a:bodyPr>
          <a:lstStyle>
            <a:lvl1pPr marL="0" indent="0" algn="ctr">
              <a:lnSpc>
                <a:spcPts val="2060"/>
              </a:lnSpc>
              <a:spcBef>
                <a:spcPts val="0"/>
              </a:spcBef>
              <a:buNone/>
              <a:defRPr sz="1800" b="0" i="0" baseline="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US" dirty="0"/>
              <a:t>Quote</a:t>
            </a:r>
          </a:p>
        </p:txBody>
      </p:sp>
      <p:sp>
        <p:nvSpPr>
          <p:cNvPr id="24" name="Picture Placeholder 23">
            <a:extLst>
              <a:ext uri="{FF2B5EF4-FFF2-40B4-BE49-F238E27FC236}">
                <a16:creationId xmlns:a16="http://schemas.microsoft.com/office/drawing/2014/main" id="{875A145F-9405-A9AC-F459-BF01A1B33E43}"/>
              </a:ext>
            </a:extLst>
          </p:cNvPr>
          <p:cNvSpPr>
            <a:spLocks noGrp="1"/>
          </p:cNvSpPr>
          <p:nvPr>
            <p:ph type="pic" sz="quarter" idx="42"/>
          </p:nvPr>
        </p:nvSpPr>
        <p:spPr>
          <a:xfrm>
            <a:off x="343547" y="4471997"/>
            <a:ext cx="5171765" cy="4643473"/>
          </a:xfrm>
          <a:custGeom>
            <a:avLst/>
            <a:gdLst>
              <a:gd name="connsiteX0" fmla="*/ 1037262 w 5171765"/>
              <a:gd name="connsiteY0" fmla="*/ 4496999 h 4643473"/>
              <a:gd name="connsiteX1" fmla="*/ 1038765 w 5171765"/>
              <a:gd name="connsiteY1" fmla="*/ 4498358 h 4643473"/>
              <a:gd name="connsiteX2" fmla="*/ 1003337 w 5171765"/>
              <a:gd name="connsiteY2" fmla="*/ 4604099 h 4643473"/>
              <a:gd name="connsiteX3" fmla="*/ 1001516 w 5171765"/>
              <a:gd name="connsiteY3" fmla="*/ 4603691 h 4643473"/>
              <a:gd name="connsiteX4" fmla="*/ 832334 w 5171765"/>
              <a:gd name="connsiteY4" fmla="*/ 4292095 h 4643473"/>
              <a:gd name="connsiteX5" fmla="*/ 895661 w 5171765"/>
              <a:gd name="connsiteY5" fmla="*/ 4367164 h 4643473"/>
              <a:gd name="connsiteX6" fmla="*/ 882824 w 5171765"/>
              <a:gd name="connsiteY6" fmla="*/ 4355407 h 4643473"/>
              <a:gd name="connsiteX7" fmla="*/ 715725 w 5171765"/>
              <a:gd name="connsiteY7" fmla="*/ 4127038 h 4643473"/>
              <a:gd name="connsiteX8" fmla="*/ 774597 w 5171765"/>
              <a:gd name="connsiteY8" fmla="*/ 4219697 h 4643473"/>
              <a:gd name="connsiteX9" fmla="*/ 753415 w 5171765"/>
              <a:gd name="connsiteY9" fmla="*/ 4193137 h 4643473"/>
              <a:gd name="connsiteX10" fmla="*/ 628360 w 5171765"/>
              <a:gd name="connsiteY10" fmla="*/ 3953915 h 4643473"/>
              <a:gd name="connsiteX11" fmla="*/ 675582 w 5171765"/>
              <a:gd name="connsiteY11" fmla="*/ 4056635 h 4643473"/>
              <a:gd name="connsiteX12" fmla="*/ 650998 w 5171765"/>
              <a:gd name="connsiteY12" fmla="*/ 4013522 h 4643473"/>
              <a:gd name="connsiteX13" fmla="*/ 578970 w 5171765"/>
              <a:gd name="connsiteY13" fmla="*/ 3820003 h 4643473"/>
              <a:gd name="connsiteX14" fmla="*/ 590197 w 5171765"/>
              <a:gd name="connsiteY14" fmla="*/ 3853428 h 4643473"/>
              <a:gd name="connsiteX15" fmla="*/ 577515 w 5171765"/>
              <a:gd name="connsiteY15" fmla="*/ 3820036 h 4643473"/>
              <a:gd name="connsiteX16" fmla="*/ 0 w 5171765"/>
              <a:gd name="connsiteY16" fmla="*/ 0 h 4643473"/>
              <a:gd name="connsiteX17" fmla="*/ 4272465 w 5171765"/>
              <a:gd name="connsiteY17" fmla="*/ 0 h 4643473"/>
              <a:gd name="connsiteX18" fmla="*/ 5171765 w 5171765"/>
              <a:gd name="connsiteY18" fmla="*/ 899042 h 4643473"/>
              <a:gd name="connsiteX19" fmla="*/ 5171765 w 5171765"/>
              <a:gd name="connsiteY19" fmla="*/ 4643473 h 4643473"/>
              <a:gd name="connsiteX20" fmla="*/ 1537845 w 5171765"/>
              <a:gd name="connsiteY20" fmla="*/ 4643473 h 4643473"/>
              <a:gd name="connsiteX21" fmla="*/ 1535285 w 5171765"/>
              <a:gd name="connsiteY21" fmla="*/ 4524787 h 4643473"/>
              <a:gd name="connsiteX22" fmla="*/ 796381 w 5171765"/>
              <a:gd name="connsiteY22" fmla="*/ 3815598 h 4643473"/>
              <a:gd name="connsiteX23" fmla="*/ 578971 w 5171765"/>
              <a:gd name="connsiteY23" fmla="*/ 3820003 h 4643473"/>
              <a:gd name="connsiteX24" fmla="*/ 539492 w 5171765"/>
              <a:gd name="connsiteY24" fmla="*/ 3647294 h 4643473"/>
              <a:gd name="connsiteX25" fmla="*/ 523148 w 5171765"/>
              <a:gd name="connsiteY25" fmla="*/ 3469078 h 4643473"/>
              <a:gd name="connsiteX26" fmla="*/ 0 w 5171765"/>
              <a:gd name="connsiteY26" fmla="*/ 3294392 h 464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71765" h="4643473">
                <a:moveTo>
                  <a:pt x="1037262" y="4496999"/>
                </a:moveTo>
                <a:lnTo>
                  <a:pt x="1038765" y="4498358"/>
                </a:lnTo>
                <a:lnTo>
                  <a:pt x="1003337" y="4604099"/>
                </a:lnTo>
                <a:lnTo>
                  <a:pt x="1001516" y="4603691"/>
                </a:lnTo>
                <a:close/>
                <a:moveTo>
                  <a:pt x="832334" y="4292095"/>
                </a:moveTo>
                <a:lnTo>
                  <a:pt x="895661" y="4367164"/>
                </a:lnTo>
                <a:lnTo>
                  <a:pt x="882824" y="4355407"/>
                </a:lnTo>
                <a:close/>
                <a:moveTo>
                  <a:pt x="715725" y="4127038"/>
                </a:moveTo>
                <a:lnTo>
                  <a:pt x="774597" y="4219697"/>
                </a:lnTo>
                <a:lnTo>
                  <a:pt x="753415" y="4193137"/>
                </a:lnTo>
                <a:close/>
                <a:moveTo>
                  <a:pt x="628360" y="3953915"/>
                </a:moveTo>
                <a:lnTo>
                  <a:pt x="675582" y="4056635"/>
                </a:lnTo>
                <a:lnTo>
                  <a:pt x="650998" y="4013522"/>
                </a:lnTo>
                <a:close/>
                <a:moveTo>
                  <a:pt x="578970" y="3820003"/>
                </a:moveTo>
                <a:lnTo>
                  <a:pt x="590197" y="3853428"/>
                </a:lnTo>
                <a:lnTo>
                  <a:pt x="577515" y="3820036"/>
                </a:lnTo>
                <a:close/>
                <a:moveTo>
                  <a:pt x="0" y="0"/>
                </a:moveTo>
                <a:lnTo>
                  <a:pt x="4272465" y="0"/>
                </a:lnTo>
                <a:cubicBezTo>
                  <a:pt x="4769449" y="0"/>
                  <a:pt x="5171765" y="402203"/>
                  <a:pt x="5171765" y="899042"/>
                </a:cubicBezTo>
                <a:lnTo>
                  <a:pt x="5171765" y="4643473"/>
                </a:lnTo>
                <a:lnTo>
                  <a:pt x="1537845" y="4643473"/>
                </a:lnTo>
                <a:lnTo>
                  <a:pt x="1535285" y="4524787"/>
                </a:lnTo>
                <a:cubicBezTo>
                  <a:pt x="1191541" y="4419069"/>
                  <a:pt x="915369" y="4154775"/>
                  <a:pt x="796381" y="3815598"/>
                </a:cubicBezTo>
                <a:lnTo>
                  <a:pt x="578971" y="3820003"/>
                </a:lnTo>
                <a:lnTo>
                  <a:pt x="539492" y="3647294"/>
                </a:lnTo>
                <a:cubicBezTo>
                  <a:pt x="530127" y="3588746"/>
                  <a:pt x="524618" y="3529279"/>
                  <a:pt x="523148" y="3469078"/>
                </a:cubicBezTo>
                <a:lnTo>
                  <a:pt x="0" y="3294392"/>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39" name="Slide Number Placeholder 5">
            <a:extLst>
              <a:ext uri="{FF2B5EF4-FFF2-40B4-BE49-F238E27FC236}">
                <a16:creationId xmlns:a16="http://schemas.microsoft.com/office/drawing/2014/main" id="{6AE51885-9671-8D86-4444-89CADFFC770A}"/>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grpSp>
        <p:nvGrpSpPr>
          <p:cNvPr id="25" name="Group 24">
            <a:extLst>
              <a:ext uri="{FF2B5EF4-FFF2-40B4-BE49-F238E27FC236}">
                <a16:creationId xmlns:a16="http://schemas.microsoft.com/office/drawing/2014/main" id="{30A6115B-756F-1F97-ED9D-E4ADEC0C35ED}"/>
              </a:ext>
            </a:extLst>
          </p:cNvPr>
          <p:cNvGrpSpPr/>
          <p:nvPr userDrawn="1"/>
        </p:nvGrpSpPr>
        <p:grpSpPr>
          <a:xfrm flipH="1">
            <a:off x="193131" y="7719362"/>
            <a:ext cx="1697453" cy="1913197"/>
            <a:chOff x="9735550" y="2624016"/>
            <a:chExt cx="1697453" cy="1913197"/>
          </a:xfrm>
        </p:grpSpPr>
        <p:sp>
          <p:nvSpPr>
            <p:cNvPr id="26" name="Freeform 25">
              <a:extLst>
                <a:ext uri="{FF2B5EF4-FFF2-40B4-BE49-F238E27FC236}">
                  <a16:creationId xmlns:a16="http://schemas.microsoft.com/office/drawing/2014/main" id="{211DFDC0-848D-882D-7CE7-907B9229BB16}"/>
                </a:ext>
              </a:extLst>
            </p:cNvPr>
            <p:cNvSpPr/>
            <p:nvPr/>
          </p:nvSpPr>
          <p:spPr>
            <a:xfrm>
              <a:off x="10349589" y="2624016"/>
              <a:ext cx="1083414" cy="1913197"/>
            </a:xfrm>
            <a:custGeom>
              <a:avLst/>
              <a:gdLst>
                <a:gd name="connsiteX0" fmla="*/ 229218 w 701466"/>
                <a:gd name="connsiteY0" fmla="*/ 370759 h 1238716"/>
                <a:gd name="connsiteX1" fmla="*/ 441317 w 701466"/>
                <a:gd name="connsiteY1" fmla="*/ 375513 h 1238716"/>
                <a:gd name="connsiteX2" fmla="*/ 139814 w 701466"/>
                <a:gd name="connsiteY2" fmla="*/ 900279 h 1238716"/>
                <a:gd name="connsiteX3" fmla="*/ 0 w 701466"/>
                <a:gd name="connsiteY3" fmla="*/ 1013409 h 1238716"/>
                <a:gd name="connsiteX4" fmla="*/ 75138 w 701466"/>
                <a:gd name="connsiteY4" fmla="*/ 1238716 h 1238716"/>
                <a:gd name="connsiteX5" fmla="*/ 563059 w 701466"/>
                <a:gd name="connsiteY5" fmla="*/ 708245 h 1238716"/>
                <a:gd name="connsiteX6" fmla="*/ 695264 w 701466"/>
                <a:gd name="connsiteY6" fmla="*/ 0 h 1238716"/>
                <a:gd name="connsiteX7" fmla="*/ 265361 w 701466"/>
                <a:gd name="connsiteY7" fmla="*/ 143550 h 1238716"/>
                <a:gd name="connsiteX8" fmla="*/ 229218 w 701466"/>
                <a:gd name="connsiteY8" fmla="*/ 370759 h 123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66" h="1238716">
                  <a:moveTo>
                    <a:pt x="229218" y="370759"/>
                  </a:moveTo>
                  <a:lnTo>
                    <a:pt x="441317" y="375513"/>
                  </a:lnTo>
                  <a:cubicBezTo>
                    <a:pt x="393761" y="574201"/>
                    <a:pt x="291041" y="755778"/>
                    <a:pt x="139814" y="900279"/>
                  </a:cubicBezTo>
                  <a:cubicBezTo>
                    <a:pt x="96063" y="942109"/>
                    <a:pt x="49458" y="980135"/>
                    <a:pt x="0" y="1013409"/>
                  </a:cubicBezTo>
                  <a:lnTo>
                    <a:pt x="75138" y="1238716"/>
                  </a:lnTo>
                  <a:cubicBezTo>
                    <a:pt x="283432" y="1113229"/>
                    <a:pt x="451779" y="930701"/>
                    <a:pt x="563059" y="708245"/>
                  </a:cubicBezTo>
                  <a:cubicBezTo>
                    <a:pt x="674339" y="485790"/>
                    <a:pt x="719042" y="241469"/>
                    <a:pt x="695264" y="0"/>
                  </a:cubicBezTo>
                  <a:lnTo>
                    <a:pt x="265361" y="143550"/>
                  </a:lnTo>
                  <a:cubicBezTo>
                    <a:pt x="263458" y="221505"/>
                    <a:pt x="251094" y="297558"/>
                    <a:pt x="229218" y="370759"/>
                  </a:cubicBezTo>
                  <a:close/>
                </a:path>
              </a:pathLst>
            </a:custGeom>
            <a:solidFill>
              <a:srgbClr val="2BACE2"/>
            </a:solidFill>
            <a:ln w="950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BC59D8B2-6FC7-88E4-5A9A-69A29DF33D9A}"/>
                </a:ext>
              </a:extLst>
            </p:cNvPr>
            <p:cNvSpPr/>
            <p:nvPr/>
          </p:nvSpPr>
          <p:spPr>
            <a:xfrm>
              <a:off x="9735550" y="3192249"/>
              <a:ext cx="968066" cy="1253928"/>
            </a:xfrm>
            <a:custGeom>
              <a:avLst/>
              <a:gdLst>
                <a:gd name="connsiteX0" fmla="*/ 626784 w 626783"/>
                <a:gd name="connsiteY0" fmla="*/ 2852 h 811867"/>
                <a:gd name="connsiteX1" fmla="*/ 486019 w 626783"/>
                <a:gd name="connsiteY1" fmla="*/ 0 h 811867"/>
                <a:gd name="connsiteX2" fmla="*/ 7609 w 626783"/>
                <a:gd name="connsiteY2" fmla="*/ 459171 h 811867"/>
                <a:gd name="connsiteX3" fmla="*/ 0 w 626783"/>
                <a:gd name="connsiteY3" fmla="*/ 811868 h 811867"/>
                <a:gd name="connsiteX4" fmla="*/ 397566 w 626783"/>
                <a:gd name="connsiteY4" fmla="*/ 646452 h 811867"/>
                <a:gd name="connsiteX5" fmla="*/ 329085 w 626783"/>
                <a:gd name="connsiteY5" fmla="*/ 442059 h 811867"/>
                <a:gd name="connsiteX6" fmla="*/ 626784 w 626783"/>
                <a:gd name="connsiteY6" fmla="*/ 2852 h 81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83" h="811867">
                  <a:moveTo>
                    <a:pt x="626784" y="2852"/>
                  </a:moveTo>
                  <a:lnTo>
                    <a:pt x="486019" y="0"/>
                  </a:lnTo>
                  <a:cubicBezTo>
                    <a:pt x="408979" y="219603"/>
                    <a:pt x="230169" y="390723"/>
                    <a:pt x="7609" y="459171"/>
                  </a:cubicBezTo>
                  <a:lnTo>
                    <a:pt x="0" y="811868"/>
                  </a:lnTo>
                  <a:cubicBezTo>
                    <a:pt x="142667" y="784298"/>
                    <a:pt x="276774" y="728209"/>
                    <a:pt x="397566" y="646452"/>
                  </a:cubicBezTo>
                  <a:lnTo>
                    <a:pt x="329085" y="442059"/>
                  </a:lnTo>
                  <a:cubicBezTo>
                    <a:pt x="472703" y="328930"/>
                    <a:pt x="576375" y="174922"/>
                    <a:pt x="626784" y="2852"/>
                  </a:cubicBezTo>
                  <a:close/>
                </a:path>
              </a:pathLst>
            </a:custGeom>
            <a:solidFill>
              <a:srgbClr val="06A64F"/>
            </a:solidFill>
            <a:ln w="9504"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699988A9-D10A-C0E3-2E7C-917154A67351}"/>
                </a:ext>
              </a:extLst>
            </p:cNvPr>
            <p:cNvSpPr/>
            <p:nvPr/>
          </p:nvSpPr>
          <p:spPr>
            <a:xfrm>
              <a:off x="10245289" y="3196656"/>
              <a:ext cx="787380" cy="992571"/>
            </a:xfrm>
            <a:custGeom>
              <a:avLst/>
              <a:gdLst>
                <a:gd name="connsiteX0" fmla="*/ 509797 w 509796"/>
                <a:gd name="connsiteY0" fmla="*/ 4753 h 642649"/>
                <a:gd name="connsiteX1" fmla="*/ 297698 w 509796"/>
                <a:gd name="connsiteY1" fmla="*/ 0 h 642649"/>
                <a:gd name="connsiteX2" fmla="*/ 0 w 509796"/>
                <a:gd name="connsiteY2" fmla="*/ 438256 h 642649"/>
                <a:gd name="connsiteX3" fmla="*/ 68480 w 509796"/>
                <a:gd name="connsiteY3" fmla="*/ 642649 h 642649"/>
                <a:gd name="connsiteX4" fmla="*/ 208294 w 509796"/>
                <a:gd name="connsiteY4" fmla="*/ 529520 h 642649"/>
                <a:gd name="connsiteX5" fmla="*/ 509797 w 509796"/>
                <a:gd name="connsiteY5" fmla="*/ 4753 h 6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796" h="642649">
                  <a:moveTo>
                    <a:pt x="509797" y="4753"/>
                  </a:moveTo>
                  <a:lnTo>
                    <a:pt x="297698" y="0"/>
                  </a:lnTo>
                  <a:cubicBezTo>
                    <a:pt x="247290" y="172070"/>
                    <a:pt x="143618" y="326078"/>
                    <a:pt x="0" y="438256"/>
                  </a:cubicBezTo>
                  <a:lnTo>
                    <a:pt x="68480" y="642649"/>
                  </a:lnTo>
                  <a:cubicBezTo>
                    <a:pt x="117938" y="609376"/>
                    <a:pt x="164543" y="571350"/>
                    <a:pt x="208294" y="529520"/>
                  </a:cubicBezTo>
                  <a:cubicBezTo>
                    <a:pt x="358570" y="385019"/>
                    <a:pt x="462241" y="203442"/>
                    <a:pt x="509797" y="4753"/>
                  </a:cubicBezTo>
                  <a:close/>
                </a:path>
              </a:pathLst>
            </a:custGeom>
            <a:solidFill>
              <a:srgbClr val="2AC3E6"/>
            </a:solidFill>
            <a:ln w="9504" cap="flat">
              <a:noFill/>
              <a:prstDash val="solid"/>
              <a:miter/>
            </a:ln>
          </p:spPr>
          <p:txBody>
            <a:bodyPr rtlCol="0" anchor="ctr"/>
            <a:lstStyle/>
            <a:p>
              <a:endParaRPr lang="en-US"/>
            </a:p>
          </p:txBody>
        </p:sp>
      </p:grpSp>
    </p:spTree>
    <p:extLst>
      <p:ext uri="{BB962C8B-B14F-4D97-AF65-F5344CB8AC3E}">
        <p14:creationId xmlns:p14="http://schemas.microsoft.com/office/powerpoint/2010/main" val="1102452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hone Slide ">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F0095D4E-4CA6-6ACD-BE8B-9EBC264F661F}"/>
              </a:ext>
            </a:extLst>
          </p:cNvPr>
          <p:cNvSpPr/>
          <p:nvPr userDrawn="1"/>
        </p:nvSpPr>
        <p:spPr>
          <a:xfrm>
            <a:off x="-1" y="2594796"/>
            <a:ext cx="7575077" cy="6773792"/>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2" name="Slide Number Placeholder 5">
            <a:extLst>
              <a:ext uri="{FF2B5EF4-FFF2-40B4-BE49-F238E27FC236}">
                <a16:creationId xmlns:a16="http://schemas.microsoft.com/office/drawing/2014/main" id="{F753F2E8-67E6-1327-3664-8324F792F302}"/>
              </a:ext>
            </a:extLst>
          </p:cNvPr>
          <p:cNvSpPr>
            <a:spLocks noGrp="1"/>
          </p:cNvSpPr>
          <p:nvPr>
            <p:ph type="sldNum" sz="quarter" idx="4"/>
          </p:nvPr>
        </p:nvSpPr>
        <p:spPr>
          <a:xfrm>
            <a:off x="7106992" y="10245992"/>
            <a:ext cx="300672" cy="266594"/>
          </a:xfrm>
          <a:prstGeom prst="rect">
            <a:avLst/>
          </a:prstGeom>
        </p:spPr>
        <p:txBody>
          <a:bodyPr vert="horz" lIns="91440" tIns="45720" rIns="91440" bIns="45720" rtlCol="0" anchor="ctr"/>
          <a:lstStyle>
            <a:lvl1pPr algn="r">
              <a:defRPr sz="700" b="0" i="0">
                <a:solidFill>
                  <a:srgbClr val="184258"/>
                </a:solidFill>
                <a:latin typeface="Calibri" panose="020F0502020204030204" pitchFamily="34" charset="0"/>
                <a:cs typeface="Calibri" panose="020F0502020204030204" pitchFamily="34" charset="0"/>
              </a:defRPr>
            </a:lvl1pPr>
          </a:lstStyle>
          <a:p>
            <a:fld id="{CB2079F2-58AF-ED44-82D7-E04B2F6FD686}" type="slidenum">
              <a:rPr lang="en-US" smtClean="0"/>
              <a:pPr/>
              <a:t>‹Nr.›</a:t>
            </a:fld>
            <a:endParaRPr lang="en-US" dirty="0"/>
          </a:p>
        </p:txBody>
      </p:sp>
      <p:sp>
        <p:nvSpPr>
          <p:cNvPr id="45" name="Rectangle 44">
            <a:extLst>
              <a:ext uri="{FF2B5EF4-FFF2-40B4-BE49-F238E27FC236}">
                <a16:creationId xmlns:a16="http://schemas.microsoft.com/office/drawing/2014/main" id="{7CAA2A28-18CA-F9D8-2BCE-21F74010C559}"/>
              </a:ext>
            </a:extLst>
          </p:cNvPr>
          <p:cNvSpPr/>
          <p:nvPr userDrawn="1"/>
        </p:nvSpPr>
        <p:spPr>
          <a:xfrm>
            <a:off x="-2829007" y="-253867"/>
            <a:ext cx="2836862" cy="109456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3">
              <a:latin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25DAA9A8-A7D2-A115-0AFA-9B9E3B3AA770}"/>
              </a:ext>
            </a:extLst>
          </p:cNvPr>
          <p:cNvSpPr/>
          <p:nvPr userDrawn="1"/>
        </p:nvSpPr>
        <p:spPr>
          <a:xfrm>
            <a:off x="7855" y="-1636437"/>
            <a:ext cx="7551820" cy="163643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3" dirty="0">
              <a:latin typeface="Calibri" panose="020F0502020204030204" pitchFamily="34" charset="0"/>
              <a:cs typeface="Calibri" panose="020F0502020204030204" pitchFamily="34" charset="0"/>
            </a:endParaRPr>
          </a:p>
        </p:txBody>
      </p:sp>
      <p:sp>
        <p:nvSpPr>
          <p:cNvPr id="21" name="Text Placeholder 32">
            <a:extLst>
              <a:ext uri="{FF2B5EF4-FFF2-40B4-BE49-F238E27FC236}">
                <a16:creationId xmlns:a16="http://schemas.microsoft.com/office/drawing/2014/main" id="{AF1A0784-8C10-0282-7634-D0B61561E214}"/>
              </a:ext>
            </a:extLst>
          </p:cNvPr>
          <p:cNvSpPr>
            <a:spLocks noGrp="1"/>
          </p:cNvSpPr>
          <p:nvPr>
            <p:ph type="body" sz="quarter" idx="30" hasCustomPrompt="1"/>
          </p:nvPr>
        </p:nvSpPr>
        <p:spPr>
          <a:xfrm>
            <a:off x="765328" y="627587"/>
            <a:ext cx="3014509" cy="662358"/>
          </a:xfrm>
          <a:prstGeom prst="rect">
            <a:avLst/>
          </a:prstGeom>
        </p:spPr>
        <p:txBody>
          <a:bodyPr>
            <a:noAutofit/>
          </a:bodyPr>
          <a:lstStyle>
            <a:lvl1pPr marL="0" indent="0" algn="l">
              <a:buNone/>
              <a:defRPr sz="2200" b="1" i="0">
                <a:solidFill>
                  <a:srgbClr val="E14726"/>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22" name="Text Placeholder 32">
            <a:extLst>
              <a:ext uri="{FF2B5EF4-FFF2-40B4-BE49-F238E27FC236}">
                <a16:creationId xmlns:a16="http://schemas.microsoft.com/office/drawing/2014/main" id="{BB8CBD79-D1AC-14AF-2458-E86907C6C8CB}"/>
              </a:ext>
            </a:extLst>
          </p:cNvPr>
          <p:cNvSpPr>
            <a:spLocks noGrp="1"/>
          </p:cNvSpPr>
          <p:nvPr>
            <p:ph type="body" sz="quarter" idx="33" hasCustomPrompt="1"/>
          </p:nvPr>
        </p:nvSpPr>
        <p:spPr>
          <a:xfrm>
            <a:off x="765328" y="1289945"/>
            <a:ext cx="3014509" cy="1234447"/>
          </a:xfrm>
          <a:prstGeom prst="rect">
            <a:avLst/>
          </a:prstGeom>
        </p:spPr>
        <p:txBody>
          <a:bodyPr>
            <a:noAutofit/>
          </a:bodyPr>
          <a:lstStyle>
            <a:lvl1pPr marL="0" indent="0" algn="l">
              <a:buNone/>
              <a:defRPr sz="1600" b="0" i="1">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23" name="Freeform 22">
            <a:extLst>
              <a:ext uri="{FF2B5EF4-FFF2-40B4-BE49-F238E27FC236}">
                <a16:creationId xmlns:a16="http://schemas.microsoft.com/office/drawing/2014/main" id="{8701A25E-6836-CAC9-0A4F-C449DBFE00C8}"/>
              </a:ext>
            </a:extLst>
          </p:cNvPr>
          <p:cNvSpPr/>
          <p:nvPr userDrawn="1"/>
        </p:nvSpPr>
        <p:spPr>
          <a:xfrm rot="10800000" flipV="1">
            <a:off x="0" y="3013335"/>
            <a:ext cx="3240000" cy="34557"/>
          </a:xfrm>
          <a:custGeom>
            <a:avLst/>
            <a:gdLst>
              <a:gd name="connsiteX0" fmla="*/ 2635910 w 2635910"/>
              <a:gd name="connsiteY0" fmla="*/ 0 h 34557"/>
              <a:gd name="connsiteX1" fmla="*/ 0 w 2635910"/>
              <a:gd name="connsiteY1" fmla="*/ 0 h 34557"/>
              <a:gd name="connsiteX2" fmla="*/ 0 w 2635910"/>
              <a:gd name="connsiteY2" fmla="*/ 34557 h 34557"/>
              <a:gd name="connsiteX3" fmla="*/ 2635910 w 2635910"/>
              <a:gd name="connsiteY3" fmla="*/ 34557 h 34557"/>
              <a:gd name="connsiteX4" fmla="*/ 2635910 w 2635910"/>
              <a:gd name="connsiteY4" fmla="*/ 0 h 34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910" h="34557">
                <a:moveTo>
                  <a:pt x="2635910" y="0"/>
                </a:moveTo>
                <a:lnTo>
                  <a:pt x="0" y="0"/>
                </a:lnTo>
                <a:lnTo>
                  <a:pt x="0" y="34557"/>
                </a:lnTo>
                <a:lnTo>
                  <a:pt x="2635910" y="34557"/>
                </a:lnTo>
                <a:lnTo>
                  <a:pt x="2635910" y="0"/>
                </a:lnTo>
                <a:close/>
              </a:path>
            </a:pathLst>
          </a:custGeom>
          <a:solidFill>
            <a:srgbClr val="E14726"/>
          </a:solidFill>
          <a:ln w="7702" cap="flat">
            <a:noFill/>
            <a:prstDash val="solid"/>
            <a:miter/>
          </a:ln>
        </p:spPr>
        <p:txBody>
          <a:bodyPr wrap="square" rtlCol="0" anchor="ctr">
            <a:noAutofit/>
          </a:bodyPr>
          <a:lstStyle/>
          <a:p>
            <a:endParaRPr lang="en-US" b="0" i="0" dirty="0">
              <a:solidFill>
                <a:srgbClr val="E14726"/>
              </a:solidFill>
              <a:latin typeface="Calibri" panose="020F0502020204030204" pitchFamily="34" charset="0"/>
            </a:endParaRPr>
          </a:p>
        </p:txBody>
      </p:sp>
      <p:sp>
        <p:nvSpPr>
          <p:cNvPr id="27" name="Text Placeholder 32">
            <a:extLst>
              <a:ext uri="{FF2B5EF4-FFF2-40B4-BE49-F238E27FC236}">
                <a16:creationId xmlns:a16="http://schemas.microsoft.com/office/drawing/2014/main" id="{EBB7399B-1778-5762-FC59-62E5AFF4341E}"/>
              </a:ext>
            </a:extLst>
          </p:cNvPr>
          <p:cNvSpPr>
            <a:spLocks noGrp="1"/>
          </p:cNvSpPr>
          <p:nvPr>
            <p:ph type="body" sz="quarter" idx="32" hasCustomPrompt="1"/>
          </p:nvPr>
        </p:nvSpPr>
        <p:spPr>
          <a:xfrm>
            <a:off x="752315" y="3760792"/>
            <a:ext cx="6143488" cy="2415228"/>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pic>
        <p:nvPicPr>
          <p:cNvPr id="32" name="Picture 31">
            <a:extLst>
              <a:ext uri="{FF2B5EF4-FFF2-40B4-BE49-F238E27FC236}">
                <a16:creationId xmlns:a16="http://schemas.microsoft.com/office/drawing/2014/main" id="{EA3CB5C2-282F-65BC-B362-824F5379279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3207067" y="6254810"/>
            <a:ext cx="3885694" cy="4437003"/>
          </a:xfrm>
          <a:custGeom>
            <a:avLst/>
            <a:gdLst>
              <a:gd name="connsiteX0" fmla="*/ 0 w 4991918"/>
              <a:gd name="connsiteY0" fmla="*/ 0 h 5653816"/>
              <a:gd name="connsiteX1" fmla="*/ 4991918 w 4991918"/>
              <a:gd name="connsiteY1" fmla="*/ 0 h 5653816"/>
              <a:gd name="connsiteX2" fmla="*/ 4991918 w 4991918"/>
              <a:gd name="connsiteY2" fmla="*/ 5653816 h 5653816"/>
              <a:gd name="connsiteX3" fmla="*/ 0 w 4991918"/>
              <a:gd name="connsiteY3" fmla="*/ 5653816 h 5653816"/>
            </a:gdLst>
            <a:ahLst/>
            <a:cxnLst>
              <a:cxn ang="0">
                <a:pos x="connsiteX0" y="connsiteY0"/>
              </a:cxn>
              <a:cxn ang="0">
                <a:pos x="connsiteX1" y="connsiteY1"/>
              </a:cxn>
              <a:cxn ang="0">
                <a:pos x="connsiteX2" y="connsiteY2"/>
              </a:cxn>
              <a:cxn ang="0">
                <a:pos x="connsiteX3" y="connsiteY3"/>
              </a:cxn>
            </a:cxnLst>
            <a:rect l="l" t="t" r="r" b="b"/>
            <a:pathLst>
              <a:path w="4991918" h="5653816">
                <a:moveTo>
                  <a:pt x="0" y="0"/>
                </a:moveTo>
                <a:lnTo>
                  <a:pt x="4991918" y="0"/>
                </a:lnTo>
                <a:lnTo>
                  <a:pt x="4991918" y="5653816"/>
                </a:lnTo>
                <a:lnTo>
                  <a:pt x="0" y="5653816"/>
                </a:lnTo>
                <a:close/>
              </a:path>
            </a:pathLst>
          </a:custGeom>
        </p:spPr>
      </p:pic>
      <p:sp>
        <p:nvSpPr>
          <p:cNvPr id="33" name="Picture Placeholder 9">
            <a:extLst>
              <a:ext uri="{FF2B5EF4-FFF2-40B4-BE49-F238E27FC236}">
                <a16:creationId xmlns:a16="http://schemas.microsoft.com/office/drawing/2014/main" id="{2592AB80-72A9-E21F-9F8D-C0808FFEFA83}"/>
              </a:ext>
            </a:extLst>
          </p:cNvPr>
          <p:cNvSpPr>
            <a:spLocks noGrp="1"/>
          </p:cNvSpPr>
          <p:nvPr>
            <p:ph type="pic" sz="quarter" idx="13"/>
          </p:nvPr>
        </p:nvSpPr>
        <p:spPr>
          <a:xfrm>
            <a:off x="3647109" y="7499244"/>
            <a:ext cx="3064876" cy="3192572"/>
          </a:xfrm>
          <a:prstGeom prst="rect">
            <a:avLst/>
          </a:prstGeom>
          <a:solidFill>
            <a:schemeClr val="bg1">
              <a:lumMod val="75000"/>
            </a:schemeClr>
          </a:solidFill>
        </p:spPr>
        <p:txBody>
          <a:bodyPr>
            <a:normAutofit/>
          </a:bodyPr>
          <a:lstStyle>
            <a:lvl1pPr marL="0" indent="0">
              <a:buNone/>
              <a:defRPr sz="1000">
                <a:latin typeface="Calibri" panose="020F0502020204030204" pitchFamily="34" charset="0"/>
                <a:cs typeface="Calibri" panose="020F0502020204030204" pitchFamily="34" charset="0"/>
              </a:defRPr>
            </a:lvl1pPr>
          </a:lstStyle>
          <a:p>
            <a:endParaRPr lang="fr-CA" dirty="0"/>
          </a:p>
        </p:txBody>
      </p:sp>
    </p:spTree>
    <p:extLst>
      <p:ext uri="{BB962C8B-B14F-4D97-AF65-F5344CB8AC3E}">
        <p14:creationId xmlns:p14="http://schemas.microsoft.com/office/powerpoint/2010/main" val="348852706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inVertical)">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09" name="Freeform 308">
            <a:extLst>
              <a:ext uri="{FF2B5EF4-FFF2-40B4-BE49-F238E27FC236}">
                <a16:creationId xmlns:a16="http://schemas.microsoft.com/office/drawing/2014/main" id="{BF55016B-BD8C-9F44-B711-A631B755D5FF}"/>
              </a:ext>
            </a:extLst>
          </p:cNvPr>
          <p:cNvSpPr/>
          <p:nvPr userDrawn="1"/>
        </p:nvSpPr>
        <p:spPr>
          <a:xfrm>
            <a:off x="326599" y="2498271"/>
            <a:ext cx="6826675" cy="6295894"/>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319" name="Freeform 318">
            <a:extLst>
              <a:ext uri="{FF2B5EF4-FFF2-40B4-BE49-F238E27FC236}">
                <a16:creationId xmlns:a16="http://schemas.microsoft.com/office/drawing/2014/main" id="{E21FBFF2-CEC0-6046-8FB2-9DAB6FAD6E53}"/>
              </a:ext>
            </a:extLst>
          </p:cNvPr>
          <p:cNvSpPr/>
          <p:nvPr userDrawn="1"/>
        </p:nvSpPr>
        <p:spPr>
          <a:xfrm>
            <a:off x="0" y="7795630"/>
            <a:ext cx="7597291" cy="715522"/>
          </a:xfrm>
          <a:custGeom>
            <a:avLst/>
            <a:gdLst>
              <a:gd name="connsiteX0" fmla="*/ 0 w 7530847"/>
              <a:gd name="connsiteY0" fmla="*/ 715523 h 715522"/>
              <a:gd name="connsiteX1" fmla="*/ 0 w 7530847"/>
              <a:gd name="connsiteY1" fmla="*/ 0 h 715522"/>
              <a:gd name="connsiteX2" fmla="*/ 7143771 w 7530847"/>
              <a:gd name="connsiteY2" fmla="*/ 0 h 715522"/>
              <a:gd name="connsiteX3" fmla="*/ 7530848 w 7530847"/>
              <a:gd name="connsiteY3" fmla="*/ 387166 h 715522"/>
              <a:gd name="connsiteX4" fmla="*/ 7530848 w 7530847"/>
              <a:gd name="connsiteY4" fmla="*/ 715523 h 715522"/>
              <a:gd name="connsiteX5" fmla="*/ 0 w 7530847"/>
              <a:gd name="connsiteY5" fmla="*/ 715523 h 7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0847" h="715522">
                <a:moveTo>
                  <a:pt x="0" y="715523"/>
                </a:moveTo>
                <a:lnTo>
                  <a:pt x="0" y="0"/>
                </a:lnTo>
                <a:lnTo>
                  <a:pt x="7143771" y="0"/>
                </a:lnTo>
                <a:cubicBezTo>
                  <a:pt x="7356908" y="0"/>
                  <a:pt x="7530848" y="173980"/>
                  <a:pt x="7530848" y="387166"/>
                </a:cubicBezTo>
                <a:lnTo>
                  <a:pt x="7530848" y="715523"/>
                </a:lnTo>
                <a:lnTo>
                  <a:pt x="0" y="715523"/>
                </a:lnTo>
                <a:close/>
              </a:path>
            </a:pathLst>
          </a:custGeom>
          <a:solidFill>
            <a:srgbClr val="E14726"/>
          </a:solidFill>
          <a:ln w="24491" cap="flat">
            <a:noFill/>
            <a:prstDash val="solid"/>
            <a:miter/>
          </a:ln>
        </p:spPr>
        <p:txBody>
          <a:bodyPr rtlCol="0" anchor="ctr"/>
          <a:lstStyle/>
          <a:p>
            <a:endParaRPr lang="en-US" b="0" i="0" dirty="0">
              <a:latin typeface="Calibri" panose="020F0502020204030204" pitchFamily="34" charset="0"/>
            </a:endParaRPr>
          </a:p>
        </p:txBody>
      </p:sp>
      <p:sp>
        <p:nvSpPr>
          <p:cNvPr id="320" name="Text Placeholder 23">
            <a:extLst>
              <a:ext uri="{FF2B5EF4-FFF2-40B4-BE49-F238E27FC236}">
                <a16:creationId xmlns:a16="http://schemas.microsoft.com/office/drawing/2014/main" id="{176AFF28-3E58-E84F-8531-D24D8045CAF8}"/>
              </a:ext>
            </a:extLst>
          </p:cNvPr>
          <p:cNvSpPr>
            <a:spLocks noGrp="1"/>
          </p:cNvSpPr>
          <p:nvPr>
            <p:ph type="body" sz="quarter" idx="18" hasCustomPrompt="1"/>
          </p:nvPr>
        </p:nvSpPr>
        <p:spPr>
          <a:xfrm>
            <a:off x="4125965" y="7918601"/>
            <a:ext cx="2846623" cy="469580"/>
          </a:xfrm>
          <a:prstGeom prst="rect">
            <a:avLst/>
          </a:prstGeom>
        </p:spPr>
        <p:txBody>
          <a:bodyPr>
            <a:normAutofit/>
          </a:bodyPr>
          <a:lstStyle>
            <a:lvl1pPr marL="0" indent="0" algn="r">
              <a:buNone/>
              <a:defRPr sz="2200" b="0" i="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
        <p:nvSpPr>
          <p:cNvPr id="323" name="Text Placeholder 23">
            <a:extLst>
              <a:ext uri="{FF2B5EF4-FFF2-40B4-BE49-F238E27FC236}">
                <a16:creationId xmlns:a16="http://schemas.microsoft.com/office/drawing/2014/main" id="{AFD7B270-B1F8-AA40-814A-7A0B76F5C723}"/>
              </a:ext>
            </a:extLst>
          </p:cNvPr>
          <p:cNvSpPr>
            <a:spLocks noGrp="1"/>
          </p:cNvSpPr>
          <p:nvPr>
            <p:ph type="body" sz="quarter" idx="17" hasCustomPrompt="1"/>
          </p:nvPr>
        </p:nvSpPr>
        <p:spPr>
          <a:xfrm>
            <a:off x="3657438" y="9116537"/>
            <a:ext cx="3256950" cy="690592"/>
          </a:xfrm>
          <a:prstGeom prst="rect">
            <a:avLst/>
          </a:prstGeom>
        </p:spPr>
        <p:txBody>
          <a:bodyPr>
            <a:normAutofit/>
          </a:bodyPr>
          <a:lstStyle>
            <a:lvl1pPr marL="0" indent="0" algn="r">
              <a:buNone/>
              <a:defRPr sz="2000" b="1" i="0">
                <a:solidFill>
                  <a:srgbClr val="E14726"/>
                </a:solidFill>
                <a:latin typeface="Calibri" panose="020F0502020204030204" pitchFamily="34" charset="0"/>
                <a:cs typeface="Calibri" panose="020F0502020204030204" pitchFamily="34" charset="0"/>
              </a:defRPr>
            </a:lvl1pPr>
          </a:lstStyle>
          <a:p>
            <a:pPr lvl="0"/>
            <a:r>
              <a:rPr lang="en-US" dirty="0"/>
              <a:t>follow our journey</a:t>
            </a:r>
          </a:p>
        </p:txBody>
      </p:sp>
      <p:sp>
        <p:nvSpPr>
          <p:cNvPr id="310" name="Text Placeholder 32">
            <a:extLst>
              <a:ext uri="{FF2B5EF4-FFF2-40B4-BE49-F238E27FC236}">
                <a16:creationId xmlns:a16="http://schemas.microsoft.com/office/drawing/2014/main" id="{334BA9BF-7358-9E42-9AC0-5FEAA358E9F6}"/>
              </a:ext>
            </a:extLst>
          </p:cNvPr>
          <p:cNvSpPr>
            <a:spLocks noGrp="1"/>
          </p:cNvSpPr>
          <p:nvPr>
            <p:ph type="body" sz="quarter" idx="32" hasCustomPrompt="1"/>
          </p:nvPr>
        </p:nvSpPr>
        <p:spPr>
          <a:xfrm>
            <a:off x="554560" y="3219790"/>
            <a:ext cx="6326687" cy="4253468"/>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pic>
        <p:nvPicPr>
          <p:cNvPr id="446" name="Picture 445">
            <a:extLst>
              <a:ext uri="{FF2B5EF4-FFF2-40B4-BE49-F238E27FC236}">
                <a16:creationId xmlns:a16="http://schemas.microsoft.com/office/drawing/2014/main" id="{F5F16B76-62CD-3339-48A4-7E07043694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4449"/>
          <a:stretch/>
        </p:blipFill>
        <p:spPr bwMode="auto">
          <a:xfrm>
            <a:off x="693882" y="10212007"/>
            <a:ext cx="1184829" cy="272079"/>
          </a:xfrm>
          <a:prstGeom prst="rect">
            <a:avLst/>
          </a:prstGeom>
          <a:ln>
            <a:noFill/>
          </a:ln>
          <a:extLst>
            <a:ext uri="{53640926-AAD7-44D8-BBD7-CCE9431645EC}">
              <a14:shadowObscured xmlns:a14="http://schemas.microsoft.com/office/drawing/2010/main"/>
            </a:ext>
          </a:extLst>
        </p:spPr>
      </p:pic>
      <p:grpSp>
        <p:nvGrpSpPr>
          <p:cNvPr id="2" name="Group 1">
            <a:extLst>
              <a:ext uri="{FF2B5EF4-FFF2-40B4-BE49-F238E27FC236}">
                <a16:creationId xmlns:a16="http://schemas.microsoft.com/office/drawing/2014/main" id="{D1634DC5-C0B0-AE2E-DC55-1DB84A958C34}"/>
              </a:ext>
            </a:extLst>
          </p:cNvPr>
          <p:cNvGrpSpPr/>
          <p:nvPr userDrawn="1"/>
        </p:nvGrpSpPr>
        <p:grpSpPr>
          <a:xfrm rot="5015097" flipH="1">
            <a:off x="5266880" y="1756741"/>
            <a:ext cx="2061589" cy="1788378"/>
            <a:chOff x="-1397183" y="824494"/>
            <a:chExt cx="1192352" cy="1034336"/>
          </a:xfrm>
        </p:grpSpPr>
        <p:sp>
          <p:nvSpPr>
            <p:cNvPr id="3" name="Freeform 2">
              <a:extLst>
                <a:ext uri="{FF2B5EF4-FFF2-40B4-BE49-F238E27FC236}">
                  <a16:creationId xmlns:a16="http://schemas.microsoft.com/office/drawing/2014/main" id="{C9A5368E-0746-841B-5C82-1E1157922036}"/>
                </a:ext>
              </a:extLst>
            </p:cNvPr>
            <p:cNvSpPr/>
            <p:nvPr userDrawn="1"/>
          </p:nvSpPr>
          <p:spPr>
            <a:xfrm>
              <a:off x="-1397183" y="824494"/>
              <a:ext cx="1192352" cy="654634"/>
            </a:xfrm>
            <a:custGeom>
              <a:avLst/>
              <a:gdLst>
                <a:gd name="connsiteX0" fmla="*/ 378063 w 1192352"/>
                <a:gd name="connsiteY0" fmla="*/ 452975 h 654634"/>
                <a:gd name="connsiteX1" fmla="*/ 382607 w 1192352"/>
                <a:gd name="connsiteY1" fmla="*/ 233148 h 654634"/>
                <a:gd name="connsiteX2" fmla="*/ 884268 w 1192352"/>
                <a:gd name="connsiteY2" fmla="*/ 521103 h 654634"/>
                <a:gd name="connsiteX3" fmla="*/ 992416 w 1192352"/>
                <a:gd name="connsiteY3" fmla="*/ 654635 h 654634"/>
                <a:gd name="connsiteX4" fmla="*/ 1192353 w 1192352"/>
                <a:gd name="connsiteY4" fmla="*/ 584690 h 654634"/>
                <a:gd name="connsiteX5" fmla="*/ 678878 w 1192352"/>
                <a:gd name="connsiteY5" fmla="*/ 125051 h 654634"/>
                <a:gd name="connsiteX6" fmla="*/ 0 w 1192352"/>
                <a:gd name="connsiteY6" fmla="*/ 7870 h 654634"/>
                <a:gd name="connsiteX7" fmla="*/ 141774 w 1192352"/>
                <a:gd name="connsiteY7" fmla="*/ 416640 h 654634"/>
                <a:gd name="connsiteX8" fmla="*/ 378063 w 1192352"/>
                <a:gd name="connsiteY8" fmla="*/ 452975 h 65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52" h="654634">
                  <a:moveTo>
                    <a:pt x="378063" y="452975"/>
                  </a:moveTo>
                  <a:lnTo>
                    <a:pt x="382607" y="233148"/>
                  </a:lnTo>
                  <a:cubicBezTo>
                    <a:pt x="572547" y="278567"/>
                    <a:pt x="746129" y="376671"/>
                    <a:pt x="884268" y="521103"/>
                  </a:cubicBezTo>
                  <a:cubicBezTo>
                    <a:pt x="924255" y="562889"/>
                    <a:pt x="960608" y="607399"/>
                    <a:pt x="992416" y="654635"/>
                  </a:cubicBezTo>
                  <a:lnTo>
                    <a:pt x="1192353" y="584690"/>
                  </a:lnTo>
                  <a:cubicBezTo>
                    <a:pt x="1069664" y="387572"/>
                    <a:pt x="893356" y="228606"/>
                    <a:pt x="678878" y="125051"/>
                  </a:cubicBezTo>
                  <a:cubicBezTo>
                    <a:pt x="464400" y="21496"/>
                    <a:pt x="230837" y="-18473"/>
                    <a:pt x="0" y="7870"/>
                  </a:cubicBezTo>
                  <a:lnTo>
                    <a:pt x="141774" y="416640"/>
                  </a:lnTo>
                  <a:cubicBezTo>
                    <a:pt x="223566" y="417548"/>
                    <a:pt x="302632" y="430266"/>
                    <a:pt x="378063" y="452975"/>
                  </a:cubicBezTo>
                  <a:close/>
                </a:path>
              </a:pathLst>
            </a:custGeom>
            <a:solidFill>
              <a:srgbClr val="702E8C"/>
            </a:solidFill>
            <a:ln w="906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04023B3B-161A-BD81-8A44-20BFDAADCE08}"/>
                </a:ext>
              </a:extLst>
            </p:cNvPr>
            <p:cNvSpPr/>
            <p:nvPr userDrawn="1"/>
          </p:nvSpPr>
          <p:spPr>
            <a:xfrm>
              <a:off x="-1021846" y="1277469"/>
              <a:ext cx="776119" cy="581361"/>
            </a:xfrm>
            <a:custGeom>
              <a:avLst/>
              <a:gdLst>
                <a:gd name="connsiteX0" fmla="*/ 2726 w 776119"/>
                <a:gd name="connsiteY0" fmla="*/ 0 h 581361"/>
                <a:gd name="connsiteX1" fmla="*/ 0 w 776119"/>
                <a:gd name="connsiteY1" fmla="*/ 117181 h 581361"/>
                <a:gd name="connsiteX2" fmla="*/ 438953 w 776119"/>
                <a:gd name="connsiteY2" fmla="*/ 574094 h 581361"/>
                <a:gd name="connsiteX3" fmla="*/ 776120 w 776119"/>
                <a:gd name="connsiteY3" fmla="*/ 581361 h 581361"/>
                <a:gd name="connsiteX4" fmla="*/ 617988 w 776119"/>
                <a:gd name="connsiteY4" fmla="*/ 201660 h 581361"/>
                <a:gd name="connsiteX5" fmla="*/ 408963 w 776119"/>
                <a:gd name="connsiteY5" fmla="*/ 274330 h 581361"/>
                <a:gd name="connsiteX6" fmla="*/ 2726 w 776119"/>
                <a:gd name="connsiteY6" fmla="*/ 0 h 58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19" h="581361">
                  <a:moveTo>
                    <a:pt x="2726" y="0"/>
                  </a:moveTo>
                  <a:lnTo>
                    <a:pt x="0" y="117181"/>
                  </a:lnTo>
                  <a:cubicBezTo>
                    <a:pt x="209934" y="190759"/>
                    <a:pt x="373519" y="361534"/>
                    <a:pt x="438953" y="574094"/>
                  </a:cubicBezTo>
                  <a:lnTo>
                    <a:pt x="776120" y="581361"/>
                  </a:lnTo>
                  <a:cubicBezTo>
                    <a:pt x="749765" y="445105"/>
                    <a:pt x="696145" y="316115"/>
                    <a:pt x="617988" y="201660"/>
                  </a:cubicBezTo>
                  <a:lnTo>
                    <a:pt x="408963" y="274330"/>
                  </a:lnTo>
                  <a:cubicBezTo>
                    <a:pt x="302632" y="142615"/>
                    <a:pt x="160859" y="48144"/>
                    <a:pt x="2726" y="0"/>
                  </a:cubicBezTo>
                  <a:close/>
                </a:path>
              </a:pathLst>
            </a:custGeom>
            <a:solidFill>
              <a:srgbClr val="FFC713"/>
            </a:solidFill>
            <a:ln w="906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258745F8-5F13-71C2-4B8B-865243F14967}"/>
                </a:ext>
              </a:extLst>
            </p:cNvPr>
            <p:cNvSpPr/>
            <p:nvPr userDrawn="1"/>
          </p:nvSpPr>
          <p:spPr>
            <a:xfrm>
              <a:off x="-1019120" y="1057641"/>
              <a:ext cx="614352" cy="494157"/>
            </a:xfrm>
            <a:custGeom>
              <a:avLst/>
              <a:gdLst>
                <a:gd name="connsiteX0" fmla="*/ 4544 w 614352"/>
                <a:gd name="connsiteY0" fmla="*/ 0 h 494157"/>
                <a:gd name="connsiteX1" fmla="*/ 0 w 614352"/>
                <a:gd name="connsiteY1" fmla="*/ 219827 h 494157"/>
                <a:gd name="connsiteX2" fmla="*/ 405327 w 614352"/>
                <a:gd name="connsiteY2" fmla="*/ 494157 h 494157"/>
                <a:gd name="connsiteX3" fmla="*/ 614353 w 614352"/>
                <a:gd name="connsiteY3" fmla="*/ 421487 h 494157"/>
                <a:gd name="connsiteX4" fmla="*/ 506205 w 614352"/>
                <a:gd name="connsiteY4" fmla="*/ 287956 h 494157"/>
                <a:gd name="connsiteX5" fmla="*/ 4544 w 614352"/>
                <a:gd name="connsiteY5" fmla="*/ 0 h 49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352" h="494157">
                  <a:moveTo>
                    <a:pt x="4544" y="0"/>
                  </a:moveTo>
                  <a:lnTo>
                    <a:pt x="0" y="219827"/>
                  </a:lnTo>
                  <a:cubicBezTo>
                    <a:pt x="158132" y="267971"/>
                    <a:pt x="299906" y="362442"/>
                    <a:pt x="405327" y="494157"/>
                  </a:cubicBezTo>
                  <a:lnTo>
                    <a:pt x="614353" y="421487"/>
                  </a:lnTo>
                  <a:cubicBezTo>
                    <a:pt x="582544" y="374251"/>
                    <a:pt x="546192" y="329741"/>
                    <a:pt x="506205" y="287956"/>
                  </a:cubicBezTo>
                  <a:cubicBezTo>
                    <a:pt x="368066" y="143524"/>
                    <a:pt x="194484" y="44510"/>
                    <a:pt x="4544" y="0"/>
                  </a:cubicBezTo>
                  <a:close/>
                </a:path>
              </a:pathLst>
            </a:custGeom>
            <a:solidFill>
              <a:srgbClr val="DF4726"/>
            </a:solidFill>
            <a:ln w="9067"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BD7D81A4-BF1D-F480-E28D-5835F60B7627}"/>
              </a:ext>
            </a:extLst>
          </p:cNvPr>
          <p:cNvSpPr/>
          <p:nvPr userDrawn="1"/>
        </p:nvSpPr>
        <p:spPr>
          <a:xfrm>
            <a:off x="1899359" y="10107910"/>
            <a:ext cx="5084053" cy="461665"/>
          </a:xfrm>
          <a:prstGeom prst="rect">
            <a:avLst/>
          </a:prstGeom>
        </p:spPr>
        <p:txBody>
          <a:bodyPr wrap="square">
            <a:spAutoFit/>
          </a:bodyPr>
          <a:lstStyle/>
          <a:p>
            <a:pPr marL="0" marR="0" indent="0" algn="l" defTabSz="181904" rtl="0" eaLnBrk="1" fontAlgn="auto" latinLnBrk="0" hangingPunct="0">
              <a:lnSpc>
                <a:spcPct val="100000"/>
              </a:lnSpc>
              <a:spcBef>
                <a:spcPts val="0"/>
              </a:spcBef>
              <a:spcAft>
                <a:spcPts val="0"/>
              </a:spcAft>
              <a:buClrTx/>
              <a:buSzTx/>
              <a:buFontTx/>
              <a:buNone/>
              <a:tabLst/>
              <a:defRPr/>
            </a:pP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This</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project</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has been funded with</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support from the European Commission. This publication [communication]</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reflects</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the views only of the author, and the Commission cannot be held responsible for</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any use, which may be</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made of the information contained therein</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2022-2-IE01-KA220-VET-000099060</a:t>
            </a:r>
            <a:endParaRPr lang="en-US" sz="800" b="0" i="0" kern="1200" dirty="0">
              <a:solidFill>
                <a:srgbClr val="084260"/>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627307479"/>
      </p:ext>
    </p:extLst>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over 01">
    <p:spTree>
      <p:nvGrpSpPr>
        <p:cNvPr id="1" name=""/>
        <p:cNvGrpSpPr/>
        <p:nvPr/>
      </p:nvGrpSpPr>
      <p:grpSpPr>
        <a:xfrm>
          <a:off x="0" y="0"/>
          <a:ext cx="0" cy="0"/>
          <a:chOff x="0" y="0"/>
          <a:chExt cx="0" cy="0"/>
        </a:xfrm>
      </p:grpSpPr>
      <p:sp>
        <p:nvSpPr>
          <p:cNvPr id="385" name="Freeform 384">
            <a:extLst>
              <a:ext uri="{FF2B5EF4-FFF2-40B4-BE49-F238E27FC236}">
                <a16:creationId xmlns:a16="http://schemas.microsoft.com/office/drawing/2014/main" id="{57F553F4-210F-D445-80C4-1685A71FF7AE}"/>
              </a:ext>
            </a:extLst>
          </p:cNvPr>
          <p:cNvSpPr/>
          <p:nvPr/>
        </p:nvSpPr>
        <p:spPr>
          <a:xfrm>
            <a:off x="0" y="5681479"/>
            <a:ext cx="7559675" cy="3765660"/>
          </a:xfrm>
          <a:custGeom>
            <a:avLst/>
            <a:gdLst>
              <a:gd name="connsiteX0" fmla="*/ 0 w 967106"/>
              <a:gd name="connsiteY0" fmla="*/ 0 h 479753"/>
              <a:gd name="connsiteX1" fmla="*/ 967107 w 967106"/>
              <a:gd name="connsiteY1" fmla="*/ 0 h 479753"/>
              <a:gd name="connsiteX2" fmla="*/ 967107 w 967106"/>
              <a:gd name="connsiteY2" fmla="*/ 479754 h 479753"/>
              <a:gd name="connsiteX3" fmla="*/ 0 w 967106"/>
              <a:gd name="connsiteY3" fmla="*/ 479754 h 479753"/>
            </a:gdLst>
            <a:ahLst/>
            <a:cxnLst>
              <a:cxn ang="0">
                <a:pos x="connsiteX0" y="connsiteY0"/>
              </a:cxn>
              <a:cxn ang="0">
                <a:pos x="connsiteX1" y="connsiteY1"/>
              </a:cxn>
              <a:cxn ang="0">
                <a:pos x="connsiteX2" y="connsiteY2"/>
              </a:cxn>
              <a:cxn ang="0">
                <a:pos x="connsiteX3" y="connsiteY3"/>
              </a:cxn>
            </a:cxnLst>
            <a:rect l="l" t="t" r="r" b="b"/>
            <a:pathLst>
              <a:path w="967106" h="479753">
                <a:moveTo>
                  <a:pt x="0" y="0"/>
                </a:moveTo>
                <a:lnTo>
                  <a:pt x="967107" y="0"/>
                </a:lnTo>
                <a:lnTo>
                  <a:pt x="967107" y="479754"/>
                </a:lnTo>
                <a:lnTo>
                  <a:pt x="0" y="479754"/>
                </a:lnTo>
                <a:close/>
              </a:path>
            </a:pathLst>
          </a:custGeom>
          <a:solidFill>
            <a:srgbClr val="0E72B5"/>
          </a:solidFill>
          <a:ln w="3060" cap="flat">
            <a:noFill/>
            <a:prstDash val="solid"/>
            <a:miter/>
          </a:ln>
        </p:spPr>
        <p:txBody>
          <a:bodyPr rtlCol="0" anchor="ctr"/>
          <a:lstStyle/>
          <a:p>
            <a:r>
              <a:rPr lang="en-US"/>
              <a:t>`</a:t>
            </a:r>
          </a:p>
        </p:txBody>
      </p:sp>
      <p:sp>
        <p:nvSpPr>
          <p:cNvPr id="9" name="Round Single Corner Rectangle 8">
            <a:extLst>
              <a:ext uri="{FF2B5EF4-FFF2-40B4-BE49-F238E27FC236}">
                <a16:creationId xmlns:a16="http://schemas.microsoft.com/office/drawing/2014/main" id="{6023AD0E-BC9C-EEA8-E13F-72C787B84636}"/>
              </a:ext>
            </a:extLst>
          </p:cNvPr>
          <p:cNvSpPr/>
          <p:nvPr userDrawn="1"/>
        </p:nvSpPr>
        <p:spPr>
          <a:xfrm>
            <a:off x="-1" y="2955472"/>
            <a:ext cx="4376057" cy="2726008"/>
          </a:xfrm>
          <a:prstGeom prst="round1Rect">
            <a:avLst/>
          </a:prstGeom>
          <a:solidFill>
            <a:srgbClr val="E14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Freeform 83">
            <a:extLst>
              <a:ext uri="{FF2B5EF4-FFF2-40B4-BE49-F238E27FC236}">
                <a16:creationId xmlns:a16="http://schemas.microsoft.com/office/drawing/2014/main" id="{773596F9-70AC-D498-A51A-A1A238F9F2C1}"/>
              </a:ext>
            </a:extLst>
          </p:cNvPr>
          <p:cNvSpPr/>
          <p:nvPr userDrawn="1"/>
        </p:nvSpPr>
        <p:spPr>
          <a:xfrm rot="16200000">
            <a:off x="2215340" y="7707376"/>
            <a:ext cx="571614" cy="3180945"/>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solidFill>
            <a:srgbClr val="E14726"/>
          </a:solidFill>
          <a:ln w="24491"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44DC9CE-286B-E8AE-DFDB-5F2176A10EE7}"/>
              </a:ext>
            </a:extLst>
          </p:cNvPr>
          <p:cNvSpPr/>
          <p:nvPr userDrawn="1"/>
        </p:nvSpPr>
        <p:spPr>
          <a:xfrm rot="16200000">
            <a:off x="1304666" y="7707376"/>
            <a:ext cx="571614" cy="3180945"/>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solidFill>
            <a:srgbClr val="E14726"/>
          </a:solidFill>
          <a:ln w="24491"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85" name="Text Placeholder 23">
            <a:extLst>
              <a:ext uri="{FF2B5EF4-FFF2-40B4-BE49-F238E27FC236}">
                <a16:creationId xmlns:a16="http://schemas.microsoft.com/office/drawing/2014/main" id="{23E29239-DF15-D95F-BD10-5B6402351A0C}"/>
              </a:ext>
            </a:extLst>
          </p:cNvPr>
          <p:cNvSpPr>
            <a:spLocks noGrp="1"/>
          </p:cNvSpPr>
          <p:nvPr>
            <p:ph type="body" sz="quarter" idx="44" hasCustomPrompt="1"/>
          </p:nvPr>
        </p:nvSpPr>
        <p:spPr>
          <a:xfrm>
            <a:off x="576450" y="9134019"/>
            <a:ext cx="2846623" cy="469580"/>
          </a:xfrm>
          <a:prstGeom prst="rect">
            <a:avLst/>
          </a:prstGeom>
        </p:spPr>
        <p:txBody>
          <a:bodyPr>
            <a:normAutofit/>
          </a:bodyPr>
          <a:lstStyle>
            <a:lvl1pPr marL="0" indent="0" algn="l">
              <a:buNone/>
              <a:defRPr sz="2200" b="0" i="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5" name="Graphic 4">
            <a:extLst>
              <a:ext uri="{FF2B5EF4-FFF2-40B4-BE49-F238E27FC236}">
                <a16:creationId xmlns:a16="http://schemas.microsoft.com/office/drawing/2014/main" id="{1F27DBA8-5E67-243C-A148-C62CC98031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999" y="0"/>
            <a:ext cx="3522338" cy="2659725"/>
          </a:xfrm>
          <a:prstGeom prst="rect">
            <a:avLst/>
          </a:prstGeom>
        </p:spPr>
      </p:pic>
      <p:pic>
        <p:nvPicPr>
          <p:cNvPr id="4" name="Picture 3">
            <a:extLst>
              <a:ext uri="{FF2B5EF4-FFF2-40B4-BE49-F238E27FC236}">
                <a16:creationId xmlns:a16="http://schemas.microsoft.com/office/drawing/2014/main" id="{D69AD1E6-16FE-2BF9-095A-861B6A0196B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44449"/>
          <a:stretch/>
        </p:blipFill>
        <p:spPr bwMode="auto">
          <a:xfrm>
            <a:off x="693882" y="10212007"/>
            <a:ext cx="1184829" cy="272079"/>
          </a:xfrm>
          <a:prstGeom prst="rect">
            <a:avLst/>
          </a:prstGeom>
          <a:ln>
            <a:noFill/>
          </a:ln>
          <a:extLst>
            <a:ext uri="{53640926-AAD7-44D8-BBD7-CCE9431645EC}">
              <a14:shadowObscured xmlns:a14="http://schemas.microsoft.com/office/drawing/2010/main"/>
            </a:ext>
          </a:extLst>
        </p:spPr>
      </p:pic>
      <p:sp>
        <p:nvSpPr>
          <p:cNvPr id="6" name="Rectangle 5">
            <a:extLst>
              <a:ext uri="{FF2B5EF4-FFF2-40B4-BE49-F238E27FC236}">
                <a16:creationId xmlns:a16="http://schemas.microsoft.com/office/drawing/2014/main" id="{55EF9A95-A7B7-5A33-122F-60FEE271BC0F}"/>
              </a:ext>
            </a:extLst>
          </p:cNvPr>
          <p:cNvSpPr/>
          <p:nvPr userDrawn="1"/>
        </p:nvSpPr>
        <p:spPr>
          <a:xfrm>
            <a:off x="1899359" y="10107910"/>
            <a:ext cx="5084053" cy="461665"/>
          </a:xfrm>
          <a:prstGeom prst="rect">
            <a:avLst/>
          </a:prstGeom>
        </p:spPr>
        <p:txBody>
          <a:bodyPr wrap="square">
            <a:spAutoFit/>
          </a:bodyPr>
          <a:lstStyle/>
          <a:p>
            <a:pPr marL="0" marR="0" indent="0" algn="l" defTabSz="181904" rtl="0" eaLnBrk="1" fontAlgn="auto" latinLnBrk="0" hangingPunct="0">
              <a:lnSpc>
                <a:spcPct val="100000"/>
              </a:lnSpc>
              <a:spcBef>
                <a:spcPts val="0"/>
              </a:spcBef>
              <a:spcAft>
                <a:spcPts val="0"/>
              </a:spcAft>
              <a:buClrTx/>
              <a:buSzTx/>
              <a:buFontTx/>
              <a:buNone/>
              <a:tabLst/>
              <a:defRPr/>
            </a:pP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This</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project</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has been funded with</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support from the European Commission. This publication [communication]</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reflects</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the views only of the author, and the Commission cannot be held responsible for</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any use, which may be</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made of the information contained therein</a:t>
            </a:r>
            <a:r>
              <a:rPr lang="ru-RU"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 </a:t>
            </a:r>
            <a:r>
              <a:rPr lang="en-US" sz="800" b="0" i="0" kern="1200">
                <a:solidFill>
                  <a:srgbClr val="084260"/>
                </a:solidFill>
                <a:latin typeface="Calibri" panose="020F0502020204030204" pitchFamily="34" charset="0"/>
                <a:ea typeface="Open Sans" panose="020B0606030504020204" pitchFamily="34" charset="0"/>
                <a:cs typeface="Calibri" panose="020F0502020204030204" pitchFamily="34" charset="0"/>
              </a:rPr>
              <a:t>2022-2-IE01-KA220-VET-000099060</a:t>
            </a:r>
            <a:endParaRPr lang="en-US" sz="800" b="0" i="0" kern="1200" dirty="0">
              <a:solidFill>
                <a:srgbClr val="084260"/>
              </a:solidFill>
              <a:latin typeface="Calibri" panose="020F0502020204030204" pitchFamily="34" charset="0"/>
              <a:ea typeface="Open Sans" panose="020B0606030504020204" pitchFamily="34" charset="0"/>
              <a:cs typeface="Calibri" panose="020F0502020204030204" pitchFamily="34" charset="0"/>
            </a:endParaRPr>
          </a:p>
        </p:txBody>
      </p:sp>
      <p:sp>
        <p:nvSpPr>
          <p:cNvPr id="2" name="Text Placeholder 32">
            <a:extLst>
              <a:ext uri="{FF2B5EF4-FFF2-40B4-BE49-F238E27FC236}">
                <a16:creationId xmlns:a16="http://schemas.microsoft.com/office/drawing/2014/main" id="{FF76D46A-D188-E7F1-5686-3EED344D4454}"/>
              </a:ext>
            </a:extLst>
          </p:cNvPr>
          <p:cNvSpPr>
            <a:spLocks noGrp="1"/>
          </p:cNvSpPr>
          <p:nvPr>
            <p:ph type="body" sz="quarter" idx="32" hasCustomPrompt="1"/>
          </p:nvPr>
        </p:nvSpPr>
        <p:spPr>
          <a:xfrm>
            <a:off x="4034880" y="7009360"/>
            <a:ext cx="2865335" cy="1734679"/>
          </a:xfrm>
          <a:prstGeom prst="rect">
            <a:avLst/>
          </a:prstGeom>
        </p:spPr>
        <p:txBody>
          <a:bodyPr numCol="1"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hort description</a:t>
            </a:r>
            <a:endParaRPr lang="en-US" dirty="0"/>
          </a:p>
        </p:txBody>
      </p:sp>
      <p:sp>
        <p:nvSpPr>
          <p:cNvPr id="19" name="Text Placeholder 32">
            <a:extLst>
              <a:ext uri="{FF2B5EF4-FFF2-40B4-BE49-F238E27FC236}">
                <a16:creationId xmlns:a16="http://schemas.microsoft.com/office/drawing/2014/main" id="{7B7ED498-EEA9-54EE-55B6-D1F7883005CE}"/>
              </a:ext>
            </a:extLst>
          </p:cNvPr>
          <p:cNvSpPr>
            <a:spLocks noGrp="1"/>
          </p:cNvSpPr>
          <p:nvPr>
            <p:ph type="body" sz="quarter" idx="60" hasCustomPrompt="1"/>
          </p:nvPr>
        </p:nvSpPr>
        <p:spPr>
          <a:xfrm>
            <a:off x="555032" y="7010528"/>
            <a:ext cx="2694087" cy="349177"/>
          </a:xfrm>
          <a:prstGeom prst="rect">
            <a:avLst/>
          </a:prstGeom>
        </p:spPr>
        <p:txBody>
          <a:bodyPr anchor="ctr">
            <a:noAutofit/>
          </a:bodyPr>
          <a:lstStyle>
            <a:lvl1pPr marL="0" indent="0" algn="l">
              <a:lnSpc>
                <a:spcPts val="1420"/>
              </a:lnSpc>
              <a:spcBef>
                <a:spcPts val="0"/>
              </a:spcBef>
              <a:buNone/>
              <a:defRPr sz="1200" b="1"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Date of Interview</a:t>
            </a:r>
            <a:endParaRPr lang="en-US" dirty="0"/>
          </a:p>
        </p:txBody>
      </p:sp>
      <p:sp>
        <p:nvSpPr>
          <p:cNvPr id="20" name="Text Placeholder 32">
            <a:extLst>
              <a:ext uri="{FF2B5EF4-FFF2-40B4-BE49-F238E27FC236}">
                <a16:creationId xmlns:a16="http://schemas.microsoft.com/office/drawing/2014/main" id="{0EECE17C-93E9-620F-396D-B6FB994831C3}"/>
              </a:ext>
            </a:extLst>
          </p:cNvPr>
          <p:cNvSpPr>
            <a:spLocks noGrp="1"/>
          </p:cNvSpPr>
          <p:nvPr>
            <p:ph type="body" sz="quarter" idx="61" hasCustomPrompt="1"/>
          </p:nvPr>
        </p:nvSpPr>
        <p:spPr>
          <a:xfrm>
            <a:off x="555032" y="7233862"/>
            <a:ext cx="2694086" cy="349177"/>
          </a:xfrm>
          <a:prstGeom prst="rect">
            <a:avLst/>
          </a:prstGeom>
        </p:spPr>
        <p:txBody>
          <a:bodyPr anchor="ctr">
            <a:noAutofit/>
          </a:bodyPr>
          <a:lstStyle>
            <a:lvl1pPr marL="0" indent="0" algn="l">
              <a:buNone/>
              <a:defRPr sz="1100" b="0"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21" name="Text Placeholder 32">
            <a:extLst>
              <a:ext uri="{FF2B5EF4-FFF2-40B4-BE49-F238E27FC236}">
                <a16:creationId xmlns:a16="http://schemas.microsoft.com/office/drawing/2014/main" id="{C81E1C63-8EC3-45DB-3E04-39311A1C21BA}"/>
              </a:ext>
            </a:extLst>
          </p:cNvPr>
          <p:cNvSpPr>
            <a:spLocks noGrp="1"/>
          </p:cNvSpPr>
          <p:nvPr>
            <p:ph type="body" sz="quarter" idx="62" hasCustomPrompt="1"/>
          </p:nvPr>
        </p:nvSpPr>
        <p:spPr>
          <a:xfrm>
            <a:off x="555032" y="7584286"/>
            <a:ext cx="2694087" cy="349177"/>
          </a:xfrm>
          <a:prstGeom prst="rect">
            <a:avLst/>
          </a:prstGeom>
        </p:spPr>
        <p:txBody>
          <a:bodyPr anchor="ctr">
            <a:noAutofit/>
          </a:bodyPr>
          <a:lstStyle>
            <a:lvl1pPr marL="0" indent="0" algn="l">
              <a:lnSpc>
                <a:spcPts val="1420"/>
              </a:lnSpc>
              <a:spcBef>
                <a:spcPts val="0"/>
              </a:spcBef>
              <a:buNone/>
              <a:defRPr sz="1200" b="1"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Contact Person</a:t>
            </a:r>
            <a:endParaRPr lang="en-US" dirty="0"/>
          </a:p>
        </p:txBody>
      </p:sp>
      <p:sp>
        <p:nvSpPr>
          <p:cNvPr id="22" name="Text Placeholder 32">
            <a:extLst>
              <a:ext uri="{FF2B5EF4-FFF2-40B4-BE49-F238E27FC236}">
                <a16:creationId xmlns:a16="http://schemas.microsoft.com/office/drawing/2014/main" id="{30D676FD-481C-AEF2-AF96-EE57E3B8B4C6}"/>
              </a:ext>
            </a:extLst>
          </p:cNvPr>
          <p:cNvSpPr>
            <a:spLocks noGrp="1"/>
          </p:cNvSpPr>
          <p:nvPr>
            <p:ph type="body" sz="quarter" idx="63" hasCustomPrompt="1"/>
          </p:nvPr>
        </p:nvSpPr>
        <p:spPr>
          <a:xfrm>
            <a:off x="555032" y="7807620"/>
            <a:ext cx="2694086" cy="349177"/>
          </a:xfrm>
          <a:prstGeom prst="rect">
            <a:avLst/>
          </a:prstGeom>
        </p:spPr>
        <p:txBody>
          <a:bodyPr anchor="ctr">
            <a:noAutofit/>
          </a:bodyPr>
          <a:lstStyle>
            <a:lvl1pPr marL="0" indent="0" algn="l">
              <a:buNone/>
              <a:defRPr sz="1100" b="0"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23" name="Text Placeholder 32">
            <a:extLst>
              <a:ext uri="{FF2B5EF4-FFF2-40B4-BE49-F238E27FC236}">
                <a16:creationId xmlns:a16="http://schemas.microsoft.com/office/drawing/2014/main" id="{FA70CECB-A007-A6BC-71EE-FDBA7CEDF279}"/>
              </a:ext>
            </a:extLst>
          </p:cNvPr>
          <p:cNvSpPr>
            <a:spLocks noGrp="1"/>
          </p:cNvSpPr>
          <p:nvPr>
            <p:ph type="body" sz="quarter" idx="64" hasCustomPrompt="1"/>
          </p:nvPr>
        </p:nvSpPr>
        <p:spPr>
          <a:xfrm>
            <a:off x="555032" y="8157966"/>
            <a:ext cx="2694087" cy="349177"/>
          </a:xfrm>
          <a:prstGeom prst="rect">
            <a:avLst/>
          </a:prstGeom>
        </p:spPr>
        <p:txBody>
          <a:bodyPr anchor="ctr">
            <a:noAutofit/>
          </a:bodyPr>
          <a:lstStyle>
            <a:lvl1pPr marL="0" indent="0" algn="l">
              <a:lnSpc>
                <a:spcPts val="1420"/>
              </a:lnSpc>
              <a:spcBef>
                <a:spcPts val="0"/>
              </a:spcBef>
              <a:buNone/>
              <a:defRPr sz="1200" b="1"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E-mail</a:t>
            </a:r>
            <a:endParaRPr lang="en-US" dirty="0"/>
          </a:p>
        </p:txBody>
      </p:sp>
      <p:sp>
        <p:nvSpPr>
          <p:cNvPr id="24" name="Text Placeholder 32">
            <a:extLst>
              <a:ext uri="{FF2B5EF4-FFF2-40B4-BE49-F238E27FC236}">
                <a16:creationId xmlns:a16="http://schemas.microsoft.com/office/drawing/2014/main" id="{507A03CC-66BC-0F88-7AF2-5DBC59B2DFAA}"/>
              </a:ext>
            </a:extLst>
          </p:cNvPr>
          <p:cNvSpPr>
            <a:spLocks noGrp="1"/>
          </p:cNvSpPr>
          <p:nvPr>
            <p:ph type="body" sz="quarter" idx="65" hasCustomPrompt="1"/>
          </p:nvPr>
        </p:nvSpPr>
        <p:spPr>
          <a:xfrm>
            <a:off x="555032" y="8381300"/>
            <a:ext cx="2694086" cy="349177"/>
          </a:xfrm>
          <a:prstGeom prst="rect">
            <a:avLst/>
          </a:prstGeom>
        </p:spPr>
        <p:txBody>
          <a:bodyPr anchor="ctr">
            <a:noAutofit/>
          </a:bodyPr>
          <a:lstStyle>
            <a:lvl1pPr marL="0" indent="0" algn="l">
              <a:buNone/>
              <a:defRPr sz="1100" b="0"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25" name="Text Placeholder 32">
            <a:extLst>
              <a:ext uri="{FF2B5EF4-FFF2-40B4-BE49-F238E27FC236}">
                <a16:creationId xmlns:a16="http://schemas.microsoft.com/office/drawing/2014/main" id="{25927A3C-CFA7-65D3-CA44-3DDCAD439C02}"/>
              </a:ext>
            </a:extLst>
          </p:cNvPr>
          <p:cNvSpPr>
            <a:spLocks noGrp="1"/>
          </p:cNvSpPr>
          <p:nvPr>
            <p:ph type="body" sz="quarter" idx="58" hasCustomPrompt="1"/>
          </p:nvPr>
        </p:nvSpPr>
        <p:spPr>
          <a:xfrm>
            <a:off x="555032" y="6436850"/>
            <a:ext cx="2694087" cy="349177"/>
          </a:xfrm>
          <a:prstGeom prst="rect">
            <a:avLst/>
          </a:prstGeom>
        </p:spPr>
        <p:txBody>
          <a:bodyPr anchor="ctr">
            <a:noAutofit/>
          </a:bodyPr>
          <a:lstStyle>
            <a:lvl1pPr marL="0" indent="0" algn="l">
              <a:lnSpc>
                <a:spcPts val="1420"/>
              </a:lnSpc>
              <a:spcBef>
                <a:spcPts val="0"/>
              </a:spcBef>
              <a:buNone/>
              <a:defRPr sz="1200" b="1"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Company Name</a:t>
            </a:r>
            <a:endParaRPr lang="en-US" dirty="0"/>
          </a:p>
        </p:txBody>
      </p:sp>
      <p:sp>
        <p:nvSpPr>
          <p:cNvPr id="26" name="Text Placeholder 32">
            <a:extLst>
              <a:ext uri="{FF2B5EF4-FFF2-40B4-BE49-F238E27FC236}">
                <a16:creationId xmlns:a16="http://schemas.microsoft.com/office/drawing/2014/main" id="{C1F439CB-39A3-DA53-5EDA-66637D5536E7}"/>
              </a:ext>
            </a:extLst>
          </p:cNvPr>
          <p:cNvSpPr>
            <a:spLocks noGrp="1"/>
          </p:cNvSpPr>
          <p:nvPr>
            <p:ph type="body" sz="quarter" idx="59" hasCustomPrompt="1"/>
          </p:nvPr>
        </p:nvSpPr>
        <p:spPr>
          <a:xfrm>
            <a:off x="555032" y="6660184"/>
            <a:ext cx="2694086" cy="349177"/>
          </a:xfrm>
          <a:prstGeom prst="rect">
            <a:avLst/>
          </a:prstGeom>
        </p:spPr>
        <p:txBody>
          <a:bodyPr anchor="ctr">
            <a:noAutofit/>
          </a:bodyPr>
          <a:lstStyle>
            <a:lvl1pPr marL="0" indent="0" algn="l">
              <a:buNone/>
              <a:defRPr sz="1100" b="0" i="0">
                <a:solidFill>
                  <a:schemeClr val="bg1"/>
                </a:solidFill>
                <a:latin typeface="Calibri" panose="020F050202020403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7" name="Text Placeholder 32">
            <a:extLst>
              <a:ext uri="{FF2B5EF4-FFF2-40B4-BE49-F238E27FC236}">
                <a16:creationId xmlns:a16="http://schemas.microsoft.com/office/drawing/2014/main" id="{7317E1C3-F43C-7A38-1724-C3153BC148DC}"/>
              </a:ext>
            </a:extLst>
          </p:cNvPr>
          <p:cNvSpPr>
            <a:spLocks noGrp="1"/>
          </p:cNvSpPr>
          <p:nvPr>
            <p:ph type="body" sz="quarter" idx="11" hasCustomPrompt="1"/>
          </p:nvPr>
        </p:nvSpPr>
        <p:spPr>
          <a:xfrm>
            <a:off x="359153" y="3349102"/>
            <a:ext cx="2794427" cy="574616"/>
          </a:xfrm>
          <a:prstGeom prst="rect">
            <a:avLst/>
          </a:prstGeom>
        </p:spPr>
        <p:txBody>
          <a:bodyPr>
            <a:noAutofit/>
          </a:bodyPr>
          <a:lstStyle>
            <a:lvl1pPr marL="0" indent="0" algn="l">
              <a:lnSpc>
                <a:spcPts val="3720"/>
              </a:lnSpc>
              <a:spcBef>
                <a:spcPts val="0"/>
              </a:spcBef>
              <a:buNone/>
              <a:defRPr sz="36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ASE STUDY</a:t>
            </a:r>
            <a:endParaRPr lang="en-US" dirty="0"/>
          </a:p>
        </p:txBody>
      </p:sp>
      <p:sp>
        <p:nvSpPr>
          <p:cNvPr id="8" name="Text Placeholder 32">
            <a:extLst>
              <a:ext uri="{FF2B5EF4-FFF2-40B4-BE49-F238E27FC236}">
                <a16:creationId xmlns:a16="http://schemas.microsoft.com/office/drawing/2014/main" id="{1A7FAD28-6850-5B1E-5ECB-475145F34FB9}"/>
              </a:ext>
            </a:extLst>
          </p:cNvPr>
          <p:cNvSpPr>
            <a:spLocks noGrp="1"/>
          </p:cNvSpPr>
          <p:nvPr>
            <p:ph type="body" sz="quarter" idx="16" hasCustomPrompt="1"/>
          </p:nvPr>
        </p:nvSpPr>
        <p:spPr>
          <a:xfrm>
            <a:off x="359153" y="4196753"/>
            <a:ext cx="2821794" cy="751695"/>
          </a:xfrm>
          <a:prstGeom prst="rect">
            <a:avLst/>
          </a:prstGeom>
        </p:spPr>
        <p:txBody>
          <a:bodyPr anchor="t">
            <a:noAutofit/>
          </a:bodyPr>
          <a:lstStyle>
            <a:lvl1pPr marL="0" indent="0" algn="l">
              <a:lnSpc>
                <a:spcPct val="100000"/>
              </a:lnSpc>
              <a:spcBef>
                <a:spcPts val="0"/>
              </a:spcBef>
              <a:buNone/>
              <a:defRPr sz="1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81" name="Picture Placeholder 11">
            <a:extLst>
              <a:ext uri="{FF2B5EF4-FFF2-40B4-BE49-F238E27FC236}">
                <a16:creationId xmlns:a16="http://schemas.microsoft.com/office/drawing/2014/main" id="{80BEA459-2DDE-73E5-6C09-8C1B291E0425}"/>
              </a:ext>
            </a:extLst>
          </p:cNvPr>
          <p:cNvSpPr>
            <a:spLocks noGrp="1"/>
          </p:cNvSpPr>
          <p:nvPr>
            <p:ph type="pic" sz="quarter" idx="43"/>
          </p:nvPr>
        </p:nvSpPr>
        <p:spPr>
          <a:xfrm>
            <a:off x="3423073" y="1079390"/>
            <a:ext cx="3615254" cy="5142362"/>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Tree>
    <p:extLst>
      <p:ext uri="{BB962C8B-B14F-4D97-AF65-F5344CB8AC3E}">
        <p14:creationId xmlns:p14="http://schemas.microsoft.com/office/powerpoint/2010/main" val="1826743220"/>
      </p:ext>
    </p:extLst>
  </p:cSld>
  <p:clrMapOvr>
    <a:masterClrMapping/>
  </p:clrMapOvr>
  <p:extLst>
    <p:ext uri="{DCECCB84-F9BA-43D5-87BE-67443E8EF086}">
      <p15:sldGuideLst xmlns:p15="http://schemas.microsoft.com/office/powerpoint/2012/main">
        <p15:guide id="1" orient="horz" pos="3367">
          <p15:clr>
            <a:srgbClr val="FBAE40"/>
          </p15:clr>
        </p15:guide>
        <p15:guide id="2" pos="238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ote/photo slide 2">
    <p:spTree>
      <p:nvGrpSpPr>
        <p:cNvPr id="1" name=""/>
        <p:cNvGrpSpPr/>
        <p:nvPr/>
      </p:nvGrpSpPr>
      <p:grpSpPr>
        <a:xfrm>
          <a:off x="0" y="0"/>
          <a:ext cx="0" cy="0"/>
          <a:chOff x="0" y="0"/>
          <a:chExt cx="0" cy="0"/>
        </a:xfrm>
      </p:grpSpPr>
      <p:sp>
        <p:nvSpPr>
          <p:cNvPr id="42" name="Freeform 41">
            <a:extLst>
              <a:ext uri="{FF2B5EF4-FFF2-40B4-BE49-F238E27FC236}">
                <a16:creationId xmlns:a16="http://schemas.microsoft.com/office/drawing/2014/main" id="{D8109A66-A71B-2541-A5C8-5FEDF01EF6B2}"/>
              </a:ext>
            </a:extLst>
          </p:cNvPr>
          <p:cNvSpPr/>
          <p:nvPr userDrawn="1"/>
        </p:nvSpPr>
        <p:spPr>
          <a:xfrm>
            <a:off x="182030" y="1672028"/>
            <a:ext cx="4283839" cy="3846244"/>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Picture Placeholder 9">
            <a:extLst>
              <a:ext uri="{FF2B5EF4-FFF2-40B4-BE49-F238E27FC236}">
                <a16:creationId xmlns:a16="http://schemas.microsoft.com/office/drawing/2014/main" id="{41685045-B66F-9724-3A03-BA1F7916F444}"/>
              </a:ext>
            </a:extLst>
          </p:cNvPr>
          <p:cNvSpPr>
            <a:spLocks noGrp="1"/>
          </p:cNvSpPr>
          <p:nvPr>
            <p:ph type="pic" sz="quarter" idx="16"/>
          </p:nvPr>
        </p:nvSpPr>
        <p:spPr>
          <a:xfrm>
            <a:off x="401638" y="393700"/>
            <a:ext cx="6716712" cy="9014859"/>
          </a:xfrm>
          <a:custGeom>
            <a:avLst/>
            <a:gdLst>
              <a:gd name="connsiteX0" fmla="*/ 4127063 w 6716712"/>
              <a:gd name="connsiteY0" fmla="*/ 1959321 h 9014859"/>
              <a:gd name="connsiteX1" fmla="*/ 4127063 w 6716712"/>
              <a:gd name="connsiteY1" fmla="*/ 1959322 h 9014859"/>
              <a:gd name="connsiteX2" fmla="*/ 4061460 w 6716712"/>
              <a:gd name="connsiteY2" fmla="*/ 1968074 h 9014859"/>
              <a:gd name="connsiteX3" fmla="*/ 0 w 6716712"/>
              <a:gd name="connsiteY3" fmla="*/ 0 h 9014859"/>
              <a:gd name="connsiteX4" fmla="*/ 6716712 w 6716712"/>
              <a:gd name="connsiteY4" fmla="*/ 0 h 9014859"/>
              <a:gd name="connsiteX5" fmla="*/ 6716712 w 6716712"/>
              <a:gd name="connsiteY5" fmla="*/ 9014859 h 9014859"/>
              <a:gd name="connsiteX6" fmla="*/ 0 w 6716712"/>
              <a:gd name="connsiteY6" fmla="*/ 9014859 h 9014859"/>
              <a:gd name="connsiteX7" fmla="*/ 0 w 6716712"/>
              <a:gd name="connsiteY7" fmla="*/ 4686023 h 9014859"/>
              <a:gd name="connsiteX8" fmla="*/ 30281 w 6716712"/>
              <a:gd name="connsiteY8" fmla="*/ 4726496 h 9014859"/>
              <a:gd name="connsiteX9" fmla="*/ 874223 w 6716712"/>
              <a:gd name="connsiteY9" fmla="*/ 5124576 h 9014859"/>
              <a:gd name="connsiteX10" fmla="*/ 4064231 w 6716712"/>
              <a:gd name="connsiteY10" fmla="*/ 5124576 h 9014859"/>
              <a:gd name="connsiteX11" fmla="*/ 4064231 w 6716712"/>
              <a:gd name="connsiteY11" fmla="*/ 2455019 h 9014859"/>
              <a:gd name="connsiteX12" fmla="*/ 4588045 w 6716712"/>
              <a:gd name="connsiteY12" fmla="*/ 2573191 h 9014859"/>
              <a:gd name="connsiteX13" fmla="*/ 4255559 w 6716712"/>
              <a:gd name="connsiteY13" fmla="*/ 1429391 h 9014859"/>
              <a:gd name="connsiteX14" fmla="*/ 3366620 w 6716712"/>
              <a:gd name="connsiteY14" fmla="*/ 635940 h 9014859"/>
              <a:gd name="connsiteX15" fmla="*/ 3285067 w 6716712"/>
              <a:gd name="connsiteY15" fmla="*/ 992981 h 9014859"/>
              <a:gd name="connsiteX16" fmla="*/ 3285068 w 6716712"/>
              <a:gd name="connsiteY16" fmla="*/ 992982 h 9014859"/>
              <a:gd name="connsiteX17" fmla="*/ 3220472 w 6716712"/>
              <a:gd name="connsiteY17" fmla="*/ 1278328 h 9014859"/>
              <a:gd name="connsiteX18" fmla="*/ 3219941 w 6716712"/>
              <a:gd name="connsiteY18" fmla="*/ 1278328 h 9014859"/>
              <a:gd name="connsiteX19" fmla="*/ 3284891 w 6716712"/>
              <a:gd name="connsiteY19" fmla="*/ 991419 h 9014859"/>
              <a:gd name="connsiteX20" fmla="*/ 2601946 w 6716712"/>
              <a:gd name="connsiteY20" fmla="*/ 793070 h 9014859"/>
              <a:gd name="connsiteX21" fmla="*/ 2667122 w 6716712"/>
              <a:gd name="connsiteY21" fmla="*/ 1278328 h 9014859"/>
              <a:gd name="connsiteX22" fmla="*/ 0 w 6716712"/>
              <a:gd name="connsiteY22" fmla="*/ 1278328 h 90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16712" h="9014859">
                <a:moveTo>
                  <a:pt x="4127063" y="1959321"/>
                </a:moveTo>
                <a:lnTo>
                  <a:pt x="4127063" y="1959322"/>
                </a:lnTo>
                <a:lnTo>
                  <a:pt x="4061460" y="1968074"/>
                </a:lnTo>
                <a:close/>
                <a:moveTo>
                  <a:pt x="0" y="0"/>
                </a:moveTo>
                <a:lnTo>
                  <a:pt x="6716712" y="0"/>
                </a:lnTo>
                <a:lnTo>
                  <a:pt x="6716712" y="9014859"/>
                </a:lnTo>
                <a:lnTo>
                  <a:pt x="0" y="9014859"/>
                </a:lnTo>
                <a:lnTo>
                  <a:pt x="0" y="4686023"/>
                </a:lnTo>
                <a:lnTo>
                  <a:pt x="30281" y="4726496"/>
                </a:lnTo>
                <a:cubicBezTo>
                  <a:pt x="230963" y="4969560"/>
                  <a:pt x="534606" y="5124576"/>
                  <a:pt x="874223" y="5124576"/>
                </a:cubicBezTo>
                <a:lnTo>
                  <a:pt x="4064231" y="5124576"/>
                </a:lnTo>
                <a:lnTo>
                  <a:pt x="4064231" y="2455019"/>
                </a:lnTo>
                <a:lnTo>
                  <a:pt x="4588045" y="2573191"/>
                </a:lnTo>
                <a:cubicBezTo>
                  <a:pt x="4588714" y="2171482"/>
                  <a:pt x="4474919" y="1777899"/>
                  <a:pt x="4255559" y="1429391"/>
                </a:cubicBezTo>
                <a:cubicBezTo>
                  <a:pt x="4036200" y="1080883"/>
                  <a:pt x="3729007" y="808663"/>
                  <a:pt x="3366620" y="635940"/>
                </a:cubicBezTo>
                <a:lnTo>
                  <a:pt x="3285067" y="992981"/>
                </a:lnTo>
                <a:lnTo>
                  <a:pt x="3285068" y="992982"/>
                </a:lnTo>
                <a:lnTo>
                  <a:pt x="3220472" y="1278328"/>
                </a:lnTo>
                <a:lnTo>
                  <a:pt x="3219941" y="1278328"/>
                </a:lnTo>
                <a:lnTo>
                  <a:pt x="3284891" y="991419"/>
                </a:lnTo>
                <a:cubicBezTo>
                  <a:pt x="3073137" y="879241"/>
                  <a:pt x="2841150" y="812031"/>
                  <a:pt x="2601946" y="793070"/>
                </a:cubicBezTo>
                <a:lnTo>
                  <a:pt x="2667122" y="1278328"/>
                </a:lnTo>
                <a:lnTo>
                  <a:pt x="0" y="1278328"/>
                </a:lnTo>
                <a:close/>
              </a:path>
            </a:pathLst>
          </a:custGeom>
          <a:solidFill>
            <a:schemeClr val="bg1">
              <a:lumMod val="85000"/>
            </a:schemeClr>
          </a:solidFill>
        </p:spPr>
        <p:txBody>
          <a:bodyPr wrap="square">
            <a:noAutofit/>
          </a:bodyPr>
          <a:lstStyle>
            <a:lvl1pPr>
              <a:defRPr sz="800">
                <a:latin typeface="Calibri" panose="020F0502020204030204" pitchFamily="34" charset="0"/>
                <a:cs typeface="Calibri" panose="020F0502020204030204" pitchFamily="34" charset="0"/>
              </a:defRPr>
            </a:lvl1pPr>
          </a:lstStyle>
          <a:p>
            <a:endParaRPr lang="en-US" dirty="0"/>
          </a:p>
        </p:txBody>
      </p:sp>
      <p:sp>
        <p:nvSpPr>
          <p:cNvPr id="3" name="Text Placeholder 32">
            <a:extLst>
              <a:ext uri="{FF2B5EF4-FFF2-40B4-BE49-F238E27FC236}">
                <a16:creationId xmlns:a16="http://schemas.microsoft.com/office/drawing/2014/main" id="{5A410025-7834-3827-B27B-80C5D036D42C}"/>
              </a:ext>
            </a:extLst>
          </p:cNvPr>
          <p:cNvSpPr>
            <a:spLocks noGrp="1"/>
          </p:cNvSpPr>
          <p:nvPr>
            <p:ph type="body" sz="quarter" idx="52" hasCustomPrompt="1"/>
          </p:nvPr>
        </p:nvSpPr>
        <p:spPr>
          <a:xfrm>
            <a:off x="719019" y="4658343"/>
            <a:ext cx="3098165" cy="238796"/>
          </a:xfrm>
          <a:prstGeom prst="rect">
            <a:avLst/>
          </a:prstGeom>
        </p:spPr>
        <p:txBody>
          <a:bodyPr numCol="1" spcCol="288000" anchor="t">
            <a:noAutofit/>
          </a:bodyPr>
          <a:lstStyle>
            <a:lvl1pPr marL="0" indent="0" algn="ctr">
              <a:lnSpc>
                <a:spcPct val="100000"/>
              </a:lnSpc>
              <a:spcBef>
                <a:spcPts val="0"/>
              </a:spcBef>
              <a:buNone/>
              <a:defRPr sz="11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 Company</a:t>
            </a:r>
            <a:endParaRPr lang="en-US" dirty="0"/>
          </a:p>
        </p:txBody>
      </p:sp>
      <p:sp>
        <p:nvSpPr>
          <p:cNvPr id="4" name="Text Placeholder 23">
            <a:extLst>
              <a:ext uri="{FF2B5EF4-FFF2-40B4-BE49-F238E27FC236}">
                <a16:creationId xmlns:a16="http://schemas.microsoft.com/office/drawing/2014/main" id="{2BE6572C-3E8A-E092-1C90-BEB2C52EC804}"/>
              </a:ext>
            </a:extLst>
          </p:cNvPr>
          <p:cNvSpPr>
            <a:spLocks noGrp="1"/>
          </p:cNvSpPr>
          <p:nvPr>
            <p:ph type="body" sz="quarter" idx="13" hasCustomPrompt="1"/>
          </p:nvPr>
        </p:nvSpPr>
        <p:spPr>
          <a:xfrm>
            <a:off x="756366" y="2526846"/>
            <a:ext cx="3023471" cy="1848158"/>
          </a:xfrm>
          <a:prstGeom prst="rect">
            <a:avLst/>
          </a:prstGeom>
        </p:spPr>
        <p:txBody>
          <a:bodyPr anchor="ctr">
            <a:normAutofit/>
          </a:bodyPr>
          <a:lstStyle>
            <a:lvl1pPr marL="0" indent="0" algn="ctr">
              <a:lnSpc>
                <a:spcPts val="2060"/>
              </a:lnSpc>
              <a:spcBef>
                <a:spcPts val="0"/>
              </a:spcBef>
              <a:buNone/>
              <a:defRPr sz="1800" b="0" i="0" baseline="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US" dirty="0"/>
              <a:t>Quote</a:t>
            </a:r>
          </a:p>
        </p:txBody>
      </p:sp>
      <p:sp>
        <p:nvSpPr>
          <p:cNvPr id="37" name="Slide Number Placeholder 5">
            <a:extLst>
              <a:ext uri="{FF2B5EF4-FFF2-40B4-BE49-F238E27FC236}">
                <a16:creationId xmlns:a16="http://schemas.microsoft.com/office/drawing/2014/main" id="{26DD6538-D312-D272-7F4D-D732EA8A1114}"/>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grpSp>
        <p:nvGrpSpPr>
          <p:cNvPr id="11" name="Group 10">
            <a:extLst>
              <a:ext uri="{FF2B5EF4-FFF2-40B4-BE49-F238E27FC236}">
                <a16:creationId xmlns:a16="http://schemas.microsoft.com/office/drawing/2014/main" id="{0C58CFE6-E74A-A1E6-BD39-E42A1BD96FC5}"/>
              </a:ext>
            </a:extLst>
          </p:cNvPr>
          <p:cNvGrpSpPr/>
          <p:nvPr userDrawn="1"/>
        </p:nvGrpSpPr>
        <p:grpSpPr>
          <a:xfrm rot="5015097" flipH="1">
            <a:off x="2968650" y="1146749"/>
            <a:ext cx="2061589" cy="1788378"/>
            <a:chOff x="-1397183" y="824494"/>
            <a:chExt cx="1192352" cy="1034336"/>
          </a:xfrm>
        </p:grpSpPr>
        <p:sp>
          <p:nvSpPr>
            <p:cNvPr id="12" name="Freeform 11">
              <a:extLst>
                <a:ext uri="{FF2B5EF4-FFF2-40B4-BE49-F238E27FC236}">
                  <a16:creationId xmlns:a16="http://schemas.microsoft.com/office/drawing/2014/main" id="{B0D564E9-F0B3-3C8A-8B4A-112626B65D0A}"/>
                </a:ext>
              </a:extLst>
            </p:cNvPr>
            <p:cNvSpPr/>
            <p:nvPr userDrawn="1"/>
          </p:nvSpPr>
          <p:spPr>
            <a:xfrm>
              <a:off x="-1397183" y="824494"/>
              <a:ext cx="1192352" cy="654634"/>
            </a:xfrm>
            <a:custGeom>
              <a:avLst/>
              <a:gdLst>
                <a:gd name="connsiteX0" fmla="*/ 378063 w 1192352"/>
                <a:gd name="connsiteY0" fmla="*/ 452975 h 654634"/>
                <a:gd name="connsiteX1" fmla="*/ 382607 w 1192352"/>
                <a:gd name="connsiteY1" fmla="*/ 233148 h 654634"/>
                <a:gd name="connsiteX2" fmla="*/ 884268 w 1192352"/>
                <a:gd name="connsiteY2" fmla="*/ 521103 h 654634"/>
                <a:gd name="connsiteX3" fmla="*/ 992416 w 1192352"/>
                <a:gd name="connsiteY3" fmla="*/ 654635 h 654634"/>
                <a:gd name="connsiteX4" fmla="*/ 1192353 w 1192352"/>
                <a:gd name="connsiteY4" fmla="*/ 584690 h 654634"/>
                <a:gd name="connsiteX5" fmla="*/ 678878 w 1192352"/>
                <a:gd name="connsiteY5" fmla="*/ 125051 h 654634"/>
                <a:gd name="connsiteX6" fmla="*/ 0 w 1192352"/>
                <a:gd name="connsiteY6" fmla="*/ 7870 h 654634"/>
                <a:gd name="connsiteX7" fmla="*/ 141774 w 1192352"/>
                <a:gd name="connsiteY7" fmla="*/ 416640 h 654634"/>
                <a:gd name="connsiteX8" fmla="*/ 378063 w 1192352"/>
                <a:gd name="connsiteY8" fmla="*/ 452975 h 65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52" h="654634">
                  <a:moveTo>
                    <a:pt x="378063" y="452975"/>
                  </a:moveTo>
                  <a:lnTo>
                    <a:pt x="382607" y="233148"/>
                  </a:lnTo>
                  <a:cubicBezTo>
                    <a:pt x="572547" y="278567"/>
                    <a:pt x="746129" y="376671"/>
                    <a:pt x="884268" y="521103"/>
                  </a:cubicBezTo>
                  <a:cubicBezTo>
                    <a:pt x="924255" y="562889"/>
                    <a:pt x="960608" y="607399"/>
                    <a:pt x="992416" y="654635"/>
                  </a:cubicBezTo>
                  <a:lnTo>
                    <a:pt x="1192353" y="584690"/>
                  </a:lnTo>
                  <a:cubicBezTo>
                    <a:pt x="1069664" y="387572"/>
                    <a:pt x="893356" y="228606"/>
                    <a:pt x="678878" y="125051"/>
                  </a:cubicBezTo>
                  <a:cubicBezTo>
                    <a:pt x="464400" y="21496"/>
                    <a:pt x="230837" y="-18473"/>
                    <a:pt x="0" y="7870"/>
                  </a:cubicBezTo>
                  <a:lnTo>
                    <a:pt x="141774" y="416640"/>
                  </a:lnTo>
                  <a:cubicBezTo>
                    <a:pt x="223566" y="417548"/>
                    <a:pt x="302632" y="430266"/>
                    <a:pt x="378063" y="452975"/>
                  </a:cubicBezTo>
                  <a:close/>
                </a:path>
              </a:pathLst>
            </a:custGeom>
            <a:solidFill>
              <a:srgbClr val="702E8C"/>
            </a:solidFill>
            <a:ln w="906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CE931A-E4A6-FC2A-A73A-9E46DA1EF01D}"/>
                </a:ext>
              </a:extLst>
            </p:cNvPr>
            <p:cNvSpPr/>
            <p:nvPr userDrawn="1"/>
          </p:nvSpPr>
          <p:spPr>
            <a:xfrm>
              <a:off x="-1021846" y="1277469"/>
              <a:ext cx="776119" cy="581361"/>
            </a:xfrm>
            <a:custGeom>
              <a:avLst/>
              <a:gdLst>
                <a:gd name="connsiteX0" fmla="*/ 2726 w 776119"/>
                <a:gd name="connsiteY0" fmla="*/ 0 h 581361"/>
                <a:gd name="connsiteX1" fmla="*/ 0 w 776119"/>
                <a:gd name="connsiteY1" fmla="*/ 117181 h 581361"/>
                <a:gd name="connsiteX2" fmla="*/ 438953 w 776119"/>
                <a:gd name="connsiteY2" fmla="*/ 574094 h 581361"/>
                <a:gd name="connsiteX3" fmla="*/ 776120 w 776119"/>
                <a:gd name="connsiteY3" fmla="*/ 581361 h 581361"/>
                <a:gd name="connsiteX4" fmla="*/ 617988 w 776119"/>
                <a:gd name="connsiteY4" fmla="*/ 201660 h 581361"/>
                <a:gd name="connsiteX5" fmla="*/ 408963 w 776119"/>
                <a:gd name="connsiteY5" fmla="*/ 274330 h 581361"/>
                <a:gd name="connsiteX6" fmla="*/ 2726 w 776119"/>
                <a:gd name="connsiteY6" fmla="*/ 0 h 58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19" h="581361">
                  <a:moveTo>
                    <a:pt x="2726" y="0"/>
                  </a:moveTo>
                  <a:lnTo>
                    <a:pt x="0" y="117181"/>
                  </a:lnTo>
                  <a:cubicBezTo>
                    <a:pt x="209934" y="190759"/>
                    <a:pt x="373519" y="361534"/>
                    <a:pt x="438953" y="574094"/>
                  </a:cubicBezTo>
                  <a:lnTo>
                    <a:pt x="776120" y="581361"/>
                  </a:lnTo>
                  <a:cubicBezTo>
                    <a:pt x="749765" y="445105"/>
                    <a:pt x="696145" y="316115"/>
                    <a:pt x="617988" y="201660"/>
                  </a:cubicBezTo>
                  <a:lnTo>
                    <a:pt x="408963" y="274330"/>
                  </a:lnTo>
                  <a:cubicBezTo>
                    <a:pt x="302632" y="142615"/>
                    <a:pt x="160859" y="48144"/>
                    <a:pt x="2726" y="0"/>
                  </a:cubicBezTo>
                  <a:close/>
                </a:path>
              </a:pathLst>
            </a:custGeom>
            <a:solidFill>
              <a:srgbClr val="FFC713"/>
            </a:solidFill>
            <a:ln w="906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30F7F56-C7AA-783B-5AAF-39487692B74E}"/>
                </a:ext>
              </a:extLst>
            </p:cNvPr>
            <p:cNvSpPr/>
            <p:nvPr userDrawn="1"/>
          </p:nvSpPr>
          <p:spPr>
            <a:xfrm>
              <a:off x="-1019120" y="1057641"/>
              <a:ext cx="614352" cy="494157"/>
            </a:xfrm>
            <a:custGeom>
              <a:avLst/>
              <a:gdLst>
                <a:gd name="connsiteX0" fmla="*/ 4544 w 614352"/>
                <a:gd name="connsiteY0" fmla="*/ 0 h 494157"/>
                <a:gd name="connsiteX1" fmla="*/ 0 w 614352"/>
                <a:gd name="connsiteY1" fmla="*/ 219827 h 494157"/>
                <a:gd name="connsiteX2" fmla="*/ 405327 w 614352"/>
                <a:gd name="connsiteY2" fmla="*/ 494157 h 494157"/>
                <a:gd name="connsiteX3" fmla="*/ 614353 w 614352"/>
                <a:gd name="connsiteY3" fmla="*/ 421487 h 494157"/>
                <a:gd name="connsiteX4" fmla="*/ 506205 w 614352"/>
                <a:gd name="connsiteY4" fmla="*/ 287956 h 494157"/>
                <a:gd name="connsiteX5" fmla="*/ 4544 w 614352"/>
                <a:gd name="connsiteY5" fmla="*/ 0 h 49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352" h="494157">
                  <a:moveTo>
                    <a:pt x="4544" y="0"/>
                  </a:moveTo>
                  <a:lnTo>
                    <a:pt x="0" y="219827"/>
                  </a:lnTo>
                  <a:cubicBezTo>
                    <a:pt x="158132" y="267971"/>
                    <a:pt x="299906" y="362442"/>
                    <a:pt x="405327" y="494157"/>
                  </a:cubicBezTo>
                  <a:lnTo>
                    <a:pt x="614353" y="421487"/>
                  </a:lnTo>
                  <a:cubicBezTo>
                    <a:pt x="582544" y="374251"/>
                    <a:pt x="546192" y="329741"/>
                    <a:pt x="506205" y="287956"/>
                  </a:cubicBezTo>
                  <a:cubicBezTo>
                    <a:pt x="368066" y="143524"/>
                    <a:pt x="194484" y="44510"/>
                    <a:pt x="4544" y="0"/>
                  </a:cubicBezTo>
                  <a:close/>
                </a:path>
              </a:pathLst>
            </a:custGeom>
            <a:solidFill>
              <a:srgbClr val="DF4726"/>
            </a:solidFill>
            <a:ln w="9067" cap="flat">
              <a:noFill/>
              <a:prstDash val="solid"/>
              <a:miter/>
            </a:ln>
          </p:spPr>
          <p:txBody>
            <a:bodyPr rtlCol="0" anchor="ctr"/>
            <a:lstStyle/>
            <a:p>
              <a:endParaRPr lang="en-US"/>
            </a:p>
          </p:txBody>
        </p:sp>
      </p:grpSp>
    </p:spTree>
    <p:extLst>
      <p:ext uri="{BB962C8B-B14F-4D97-AF65-F5344CB8AC3E}">
        <p14:creationId xmlns:p14="http://schemas.microsoft.com/office/powerpoint/2010/main" val="3080309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58" name="Freeform 57">
            <a:extLst>
              <a:ext uri="{FF2B5EF4-FFF2-40B4-BE49-F238E27FC236}">
                <a16:creationId xmlns:a16="http://schemas.microsoft.com/office/drawing/2014/main" id="{3565780B-7092-5B4F-A88D-AF6E195E5CDD}"/>
              </a:ext>
            </a:extLst>
          </p:cNvPr>
          <p:cNvSpPr/>
          <p:nvPr userDrawn="1"/>
        </p:nvSpPr>
        <p:spPr>
          <a:xfrm>
            <a:off x="1033053" y="476896"/>
            <a:ext cx="3430886" cy="9020430"/>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56" name="Text Placeholder 8">
            <a:extLst>
              <a:ext uri="{FF2B5EF4-FFF2-40B4-BE49-F238E27FC236}">
                <a16:creationId xmlns:a16="http://schemas.microsoft.com/office/drawing/2014/main" id="{A880D8B8-54FE-9A41-9C0F-551796DE9094}"/>
              </a:ext>
            </a:extLst>
          </p:cNvPr>
          <p:cNvSpPr>
            <a:spLocks noGrp="1"/>
          </p:cNvSpPr>
          <p:nvPr>
            <p:ph type="body" sz="quarter" idx="35" hasCustomPrompt="1"/>
          </p:nvPr>
        </p:nvSpPr>
        <p:spPr>
          <a:xfrm>
            <a:off x="4761939" y="1198645"/>
            <a:ext cx="2182529" cy="339415"/>
          </a:xfrm>
          <a:prstGeom prst="rect">
            <a:avLst/>
          </a:prstGeom>
        </p:spPr>
        <p:txBody>
          <a:bodyPr>
            <a:normAutofit/>
          </a:bodyPr>
          <a:lstStyle>
            <a:lvl1pPr marL="0" indent="0" algn="r">
              <a:lnSpc>
                <a:spcPct val="100000"/>
              </a:lnSpc>
              <a:buNone/>
              <a:defRPr sz="2000" b="1" i="0">
                <a:solidFill>
                  <a:srgbClr val="E14726"/>
                </a:solidFill>
                <a:latin typeface="Calibri" panose="020F0502020204030204" pitchFamily="34" charset="0"/>
                <a:cs typeface="Calibri" panose="020F0502020204030204" pitchFamily="34" charset="0"/>
              </a:defRPr>
            </a:lvl1pPr>
          </a:lstStyle>
          <a:p>
            <a:pPr lvl="0"/>
            <a:r>
              <a:rPr lang="en-US" dirty="0"/>
              <a:t>Feature Title</a:t>
            </a:r>
          </a:p>
        </p:txBody>
      </p:sp>
      <p:sp>
        <p:nvSpPr>
          <p:cNvPr id="57" name="Text Placeholder 8">
            <a:extLst>
              <a:ext uri="{FF2B5EF4-FFF2-40B4-BE49-F238E27FC236}">
                <a16:creationId xmlns:a16="http://schemas.microsoft.com/office/drawing/2014/main" id="{06796A09-8385-7B44-9E58-2584049BA732}"/>
              </a:ext>
            </a:extLst>
          </p:cNvPr>
          <p:cNvSpPr>
            <a:spLocks noGrp="1"/>
          </p:cNvSpPr>
          <p:nvPr>
            <p:ph type="body" sz="quarter" idx="36" hasCustomPrompt="1"/>
          </p:nvPr>
        </p:nvSpPr>
        <p:spPr>
          <a:xfrm>
            <a:off x="4762166" y="1697358"/>
            <a:ext cx="2179389" cy="1323734"/>
          </a:xfrm>
          <a:prstGeom prst="rect">
            <a:avLst/>
          </a:prstGeom>
        </p:spPr>
        <p:txBody>
          <a:bodyPr>
            <a:noAutofit/>
          </a:bodyPr>
          <a:lstStyle>
            <a:lvl1pPr marL="0" indent="0" algn="r">
              <a:lnSpc>
                <a:spcPct val="100000"/>
              </a:lnSpc>
              <a:buNone/>
              <a:defRPr lang="en-US" sz="1200" b="0" i="0" smtClean="0">
                <a:solidFill>
                  <a:srgbClr val="083F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6" name="Text Placeholder 8">
            <a:extLst>
              <a:ext uri="{FF2B5EF4-FFF2-40B4-BE49-F238E27FC236}">
                <a16:creationId xmlns:a16="http://schemas.microsoft.com/office/drawing/2014/main" id="{17A55D83-239D-7E4E-A01F-6003B9F43D98}"/>
              </a:ext>
            </a:extLst>
          </p:cNvPr>
          <p:cNvSpPr>
            <a:spLocks noGrp="1"/>
          </p:cNvSpPr>
          <p:nvPr>
            <p:ph type="body" sz="quarter" idx="37" hasCustomPrompt="1"/>
          </p:nvPr>
        </p:nvSpPr>
        <p:spPr>
          <a:xfrm>
            <a:off x="3415441" y="1376711"/>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1</a:t>
            </a:r>
          </a:p>
        </p:txBody>
      </p:sp>
      <p:sp>
        <p:nvSpPr>
          <p:cNvPr id="121" name="Picture Placeholder 120">
            <a:extLst>
              <a:ext uri="{FF2B5EF4-FFF2-40B4-BE49-F238E27FC236}">
                <a16:creationId xmlns:a16="http://schemas.microsoft.com/office/drawing/2014/main" id="{086978C8-0A1E-2F4C-A447-80492147AC20}"/>
              </a:ext>
            </a:extLst>
          </p:cNvPr>
          <p:cNvSpPr>
            <a:spLocks noGrp="1"/>
          </p:cNvSpPr>
          <p:nvPr>
            <p:ph type="pic" sz="quarter" idx="41"/>
          </p:nvPr>
        </p:nvSpPr>
        <p:spPr>
          <a:xfrm>
            <a:off x="7559" y="188180"/>
            <a:ext cx="3354094" cy="9597862"/>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grpSp>
        <p:nvGrpSpPr>
          <p:cNvPr id="5" name="Group 4">
            <a:extLst>
              <a:ext uri="{FF2B5EF4-FFF2-40B4-BE49-F238E27FC236}">
                <a16:creationId xmlns:a16="http://schemas.microsoft.com/office/drawing/2014/main" id="{C840E568-5ABF-4D45-A5FE-455302AF2F2A}"/>
              </a:ext>
            </a:extLst>
          </p:cNvPr>
          <p:cNvGrpSpPr/>
          <p:nvPr userDrawn="1"/>
        </p:nvGrpSpPr>
        <p:grpSpPr>
          <a:xfrm>
            <a:off x="4061909" y="872067"/>
            <a:ext cx="3006907" cy="2343148"/>
            <a:chOff x="4061909" y="1565906"/>
            <a:chExt cx="3006907" cy="2634619"/>
          </a:xfrm>
        </p:grpSpPr>
        <p:cxnSp>
          <p:nvCxnSpPr>
            <p:cNvPr id="59" name="Straight Connector 58">
              <a:extLst>
                <a:ext uri="{FF2B5EF4-FFF2-40B4-BE49-F238E27FC236}">
                  <a16:creationId xmlns:a16="http://schemas.microsoft.com/office/drawing/2014/main" id="{2E172578-1E17-5943-A70C-D44C3590E20A}"/>
                </a:ext>
              </a:extLst>
            </p:cNvPr>
            <p:cNvCxnSpPr/>
            <p:nvPr userDrawn="1"/>
          </p:nvCxnSpPr>
          <p:spPr>
            <a:xfrm>
              <a:off x="7066852" y="1577903"/>
              <a:ext cx="1964" cy="2617423"/>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452AE59-25C2-A845-A504-6DFA86CB4AA7}"/>
                </a:ext>
              </a:extLst>
            </p:cNvPr>
            <p:cNvCxnSpPr/>
            <p:nvPr userDrawn="1"/>
          </p:nvCxnSpPr>
          <p:spPr>
            <a:xfrm>
              <a:off x="4061909" y="4195325"/>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0D16B07-376E-A640-A5E7-314E737EAD48}"/>
                </a:ext>
              </a:extLst>
            </p:cNvPr>
            <p:cNvCxnSpPr/>
            <p:nvPr userDrawn="1"/>
          </p:nvCxnSpPr>
          <p:spPr>
            <a:xfrm>
              <a:off x="4061909" y="1577903"/>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127D0D-4935-6047-9944-DF7720C6EF1F}"/>
                </a:ext>
              </a:extLst>
            </p:cNvPr>
            <p:cNvCxnSpPr/>
            <p:nvPr userDrawn="1"/>
          </p:nvCxnSpPr>
          <p:spPr>
            <a:xfrm>
              <a:off x="4061909" y="1565906"/>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DE2609D-4BBF-724C-A2CF-DE37763E7D44}"/>
                </a:ext>
              </a:extLst>
            </p:cNvPr>
            <p:cNvCxnSpPr/>
            <p:nvPr userDrawn="1"/>
          </p:nvCxnSpPr>
          <p:spPr>
            <a:xfrm>
              <a:off x="4061909" y="3538669"/>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grpSp>
      <p:sp>
        <p:nvSpPr>
          <p:cNvPr id="149" name="Text Placeholder 8">
            <a:extLst>
              <a:ext uri="{FF2B5EF4-FFF2-40B4-BE49-F238E27FC236}">
                <a16:creationId xmlns:a16="http://schemas.microsoft.com/office/drawing/2014/main" id="{DD6AA936-BB29-2E4F-989D-BD8E8FD10D71}"/>
              </a:ext>
            </a:extLst>
          </p:cNvPr>
          <p:cNvSpPr>
            <a:spLocks noGrp="1"/>
          </p:cNvSpPr>
          <p:nvPr>
            <p:ph type="body" sz="quarter" idx="42" hasCustomPrompt="1"/>
          </p:nvPr>
        </p:nvSpPr>
        <p:spPr>
          <a:xfrm>
            <a:off x="4752619" y="3921902"/>
            <a:ext cx="2182529" cy="339415"/>
          </a:xfrm>
          <a:prstGeom prst="rect">
            <a:avLst/>
          </a:prstGeom>
        </p:spPr>
        <p:txBody>
          <a:bodyPr>
            <a:normAutofit/>
          </a:bodyPr>
          <a:lstStyle>
            <a:lvl1pPr marL="0" indent="0" algn="r">
              <a:lnSpc>
                <a:spcPct val="100000"/>
              </a:lnSpc>
              <a:buNone/>
              <a:defRPr sz="2000" b="1" i="0">
                <a:solidFill>
                  <a:srgbClr val="E14726"/>
                </a:solidFill>
                <a:latin typeface="Calibri" panose="020F0502020204030204" pitchFamily="34" charset="0"/>
                <a:cs typeface="Calibri" panose="020F0502020204030204" pitchFamily="34" charset="0"/>
              </a:defRPr>
            </a:lvl1pPr>
          </a:lstStyle>
          <a:p>
            <a:pPr lvl="0"/>
            <a:r>
              <a:rPr lang="en-US" dirty="0"/>
              <a:t>Feature Title</a:t>
            </a:r>
          </a:p>
        </p:txBody>
      </p:sp>
      <p:sp>
        <p:nvSpPr>
          <p:cNvPr id="150" name="Text Placeholder 8">
            <a:extLst>
              <a:ext uri="{FF2B5EF4-FFF2-40B4-BE49-F238E27FC236}">
                <a16:creationId xmlns:a16="http://schemas.microsoft.com/office/drawing/2014/main" id="{5AF5A071-C258-9849-85E5-7CD3D95B3D30}"/>
              </a:ext>
            </a:extLst>
          </p:cNvPr>
          <p:cNvSpPr>
            <a:spLocks noGrp="1"/>
          </p:cNvSpPr>
          <p:nvPr>
            <p:ph type="body" sz="quarter" idx="43" hasCustomPrompt="1"/>
          </p:nvPr>
        </p:nvSpPr>
        <p:spPr>
          <a:xfrm>
            <a:off x="4752846" y="4420615"/>
            <a:ext cx="2179389" cy="1385087"/>
          </a:xfrm>
          <a:prstGeom prst="rect">
            <a:avLst/>
          </a:prstGeom>
        </p:spPr>
        <p:txBody>
          <a:bodyPr>
            <a:noAutofit/>
          </a:bodyPr>
          <a:lstStyle>
            <a:lvl1pPr marL="0" indent="0" algn="r">
              <a:lnSpc>
                <a:spcPct val="100000"/>
              </a:lnSpc>
              <a:buNone/>
              <a:defRPr lang="en-US" sz="1200" b="0" i="0" smtClean="0">
                <a:solidFill>
                  <a:srgbClr val="083F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151" name="Text Placeholder 8">
            <a:extLst>
              <a:ext uri="{FF2B5EF4-FFF2-40B4-BE49-F238E27FC236}">
                <a16:creationId xmlns:a16="http://schemas.microsoft.com/office/drawing/2014/main" id="{30B7D1DF-000E-8D4F-84F1-DD82918ECDB3}"/>
              </a:ext>
            </a:extLst>
          </p:cNvPr>
          <p:cNvSpPr>
            <a:spLocks noGrp="1"/>
          </p:cNvSpPr>
          <p:nvPr>
            <p:ph type="body" sz="quarter" idx="44" hasCustomPrompt="1"/>
          </p:nvPr>
        </p:nvSpPr>
        <p:spPr>
          <a:xfrm>
            <a:off x="3424050" y="4117898"/>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2</a:t>
            </a:r>
          </a:p>
        </p:txBody>
      </p:sp>
      <p:grpSp>
        <p:nvGrpSpPr>
          <p:cNvPr id="152" name="Group 151">
            <a:extLst>
              <a:ext uri="{FF2B5EF4-FFF2-40B4-BE49-F238E27FC236}">
                <a16:creationId xmlns:a16="http://schemas.microsoft.com/office/drawing/2014/main" id="{F21F135D-807A-5B46-9500-E672252E025B}"/>
              </a:ext>
            </a:extLst>
          </p:cNvPr>
          <p:cNvGrpSpPr/>
          <p:nvPr userDrawn="1"/>
        </p:nvGrpSpPr>
        <p:grpSpPr>
          <a:xfrm>
            <a:off x="4052589" y="3595324"/>
            <a:ext cx="3006907" cy="2343148"/>
            <a:chOff x="4061909" y="1565906"/>
            <a:chExt cx="3006907" cy="2634619"/>
          </a:xfrm>
        </p:grpSpPr>
        <p:cxnSp>
          <p:nvCxnSpPr>
            <p:cNvPr id="153" name="Straight Connector 152">
              <a:extLst>
                <a:ext uri="{FF2B5EF4-FFF2-40B4-BE49-F238E27FC236}">
                  <a16:creationId xmlns:a16="http://schemas.microsoft.com/office/drawing/2014/main" id="{B3E534D8-07F4-624E-81EF-64A22089C363}"/>
                </a:ext>
              </a:extLst>
            </p:cNvPr>
            <p:cNvCxnSpPr/>
            <p:nvPr userDrawn="1"/>
          </p:nvCxnSpPr>
          <p:spPr>
            <a:xfrm>
              <a:off x="7066852" y="1577903"/>
              <a:ext cx="1964" cy="2617423"/>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4249B48-ECEF-8444-8FF2-0B3BC0457514}"/>
                </a:ext>
              </a:extLst>
            </p:cNvPr>
            <p:cNvCxnSpPr/>
            <p:nvPr userDrawn="1"/>
          </p:nvCxnSpPr>
          <p:spPr>
            <a:xfrm>
              <a:off x="4061909" y="4195325"/>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37C7836-0BB6-124C-9AD4-C150D1152C34}"/>
                </a:ext>
              </a:extLst>
            </p:cNvPr>
            <p:cNvCxnSpPr/>
            <p:nvPr userDrawn="1"/>
          </p:nvCxnSpPr>
          <p:spPr>
            <a:xfrm>
              <a:off x="4061909" y="1577903"/>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18EB897-D128-3444-8BB7-AD44F8BAA930}"/>
                </a:ext>
              </a:extLst>
            </p:cNvPr>
            <p:cNvCxnSpPr/>
            <p:nvPr userDrawn="1"/>
          </p:nvCxnSpPr>
          <p:spPr>
            <a:xfrm>
              <a:off x="4061909" y="1565906"/>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A4453909-A921-164A-A577-96080C45C28F}"/>
                </a:ext>
              </a:extLst>
            </p:cNvPr>
            <p:cNvCxnSpPr/>
            <p:nvPr userDrawn="1"/>
          </p:nvCxnSpPr>
          <p:spPr>
            <a:xfrm>
              <a:off x="4061909" y="3538669"/>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grpSp>
      <p:sp>
        <p:nvSpPr>
          <p:cNvPr id="159" name="Text Placeholder 8">
            <a:extLst>
              <a:ext uri="{FF2B5EF4-FFF2-40B4-BE49-F238E27FC236}">
                <a16:creationId xmlns:a16="http://schemas.microsoft.com/office/drawing/2014/main" id="{D36B5CCA-A130-2849-9147-510E1298A155}"/>
              </a:ext>
            </a:extLst>
          </p:cNvPr>
          <p:cNvSpPr>
            <a:spLocks noGrp="1"/>
          </p:cNvSpPr>
          <p:nvPr>
            <p:ph type="body" sz="quarter" idx="45" hasCustomPrompt="1"/>
          </p:nvPr>
        </p:nvSpPr>
        <p:spPr>
          <a:xfrm>
            <a:off x="4749706" y="6635459"/>
            <a:ext cx="2182529" cy="339415"/>
          </a:xfrm>
          <a:prstGeom prst="rect">
            <a:avLst/>
          </a:prstGeom>
        </p:spPr>
        <p:txBody>
          <a:bodyPr>
            <a:normAutofit/>
          </a:bodyPr>
          <a:lstStyle>
            <a:lvl1pPr marL="0" indent="0" algn="r">
              <a:lnSpc>
                <a:spcPct val="100000"/>
              </a:lnSpc>
              <a:buNone/>
              <a:defRPr sz="2000" b="1" i="0">
                <a:solidFill>
                  <a:srgbClr val="E14726"/>
                </a:solidFill>
                <a:latin typeface="Calibri" panose="020F0502020204030204" pitchFamily="34" charset="0"/>
                <a:cs typeface="Calibri" panose="020F0502020204030204" pitchFamily="34" charset="0"/>
              </a:defRPr>
            </a:lvl1pPr>
          </a:lstStyle>
          <a:p>
            <a:pPr lvl="0"/>
            <a:r>
              <a:rPr lang="en-US" dirty="0"/>
              <a:t>Feature Title</a:t>
            </a:r>
          </a:p>
        </p:txBody>
      </p:sp>
      <p:sp>
        <p:nvSpPr>
          <p:cNvPr id="160" name="Text Placeholder 8">
            <a:extLst>
              <a:ext uri="{FF2B5EF4-FFF2-40B4-BE49-F238E27FC236}">
                <a16:creationId xmlns:a16="http://schemas.microsoft.com/office/drawing/2014/main" id="{4D2D838D-CF42-5147-9594-896E2782017A}"/>
              </a:ext>
            </a:extLst>
          </p:cNvPr>
          <p:cNvSpPr>
            <a:spLocks noGrp="1"/>
          </p:cNvSpPr>
          <p:nvPr>
            <p:ph type="body" sz="quarter" idx="46" hasCustomPrompt="1"/>
          </p:nvPr>
        </p:nvSpPr>
        <p:spPr>
          <a:xfrm>
            <a:off x="4749933" y="7134172"/>
            <a:ext cx="2179389" cy="1240219"/>
          </a:xfrm>
          <a:prstGeom prst="rect">
            <a:avLst/>
          </a:prstGeom>
        </p:spPr>
        <p:txBody>
          <a:bodyPr>
            <a:noAutofit/>
          </a:bodyPr>
          <a:lstStyle>
            <a:lvl1pPr marL="0" indent="0" algn="r">
              <a:lnSpc>
                <a:spcPct val="100000"/>
              </a:lnSpc>
              <a:buNone/>
              <a:defRPr lang="en-US" sz="1200" b="0" i="0" smtClean="0">
                <a:solidFill>
                  <a:srgbClr val="083F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161" name="Text Placeholder 8">
            <a:extLst>
              <a:ext uri="{FF2B5EF4-FFF2-40B4-BE49-F238E27FC236}">
                <a16:creationId xmlns:a16="http://schemas.microsoft.com/office/drawing/2014/main" id="{FD9290C7-CCE6-9B48-B3A1-61DAF283AB81}"/>
              </a:ext>
            </a:extLst>
          </p:cNvPr>
          <p:cNvSpPr>
            <a:spLocks noGrp="1"/>
          </p:cNvSpPr>
          <p:nvPr>
            <p:ph type="body" sz="quarter" idx="47" hasCustomPrompt="1"/>
          </p:nvPr>
        </p:nvSpPr>
        <p:spPr>
          <a:xfrm>
            <a:off x="3385279" y="6831455"/>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3</a:t>
            </a:r>
          </a:p>
        </p:txBody>
      </p:sp>
      <p:grpSp>
        <p:nvGrpSpPr>
          <p:cNvPr id="162" name="Group 161">
            <a:extLst>
              <a:ext uri="{FF2B5EF4-FFF2-40B4-BE49-F238E27FC236}">
                <a16:creationId xmlns:a16="http://schemas.microsoft.com/office/drawing/2014/main" id="{62ACF1FD-E20D-7746-A6C7-EC0024F21D8B}"/>
              </a:ext>
            </a:extLst>
          </p:cNvPr>
          <p:cNvGrpSpPr/>
          <p:nvPr userDrawn="1"/>
        </p:nvGrpSpPr>
        <p:grpSpPr>
          <a:xfrm>
            <a:off x="4049676" y="6308881"/>
            <a:ext cx="3006907" cy="2343148"/>
            <a:chOff x="4061909" y="1565906"/>
            <a:chExt cx="3006907" cy="2634619"/>
          </a:xfrm>
        </p:grpSpPr>
        <p:cxnSp>
          <p:nvCxnSpPr>
            <p:cNvPr id="163" name="Straight Connector 162">
              <a:extLst>
                <a:ext uri="{FF2B5EF4-FFF2-40B4-BE49-F238E27FC236}">
                  <a16:creationId xmlns:a16="http://schemas.microsoft.com/office/drawing/2014/main" id="{6FF7DE75-B67D-2044-AC33-33DD229F1D07}"/>
                </a:ext>
              </a:extLst>
            </p:cNvPr>
            <p:cNvCxnSpPr/>
            <p:nvPr userDrawn="1"/>
          </p:nvCxnSpPr>
          <p:spPr>
            <a:xfrm>
              <a:off x="7066852" y="1577903"/>
              <a:ext cx="1964" cy="2617423"/>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04710972-FD23-224B-8290-6F8707F9D51E}"/>
                </a:ext>
              </a:extLst>
            </p:cNvPr>
            <p:cNvCxnSpPr/>
            <p:nvPr userDrawn="1"/>
          </p:nvCxnSpPr>
          <p:spPr>
            <a:xfrm>
              <a:off x="4061909" y="4195325"/>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A0D59308-1077-3E4C-A055-D5DF5CE8D538}"/>
                </a:ext>
              </a:extLst>
            </p:cNvPr>
            <p:cNvCxnSpPr/>
            <p:nvPr userDrawn="1"/>
          </p:nvCxnSpPr>
          <p:spPr>
            <a:xfrm>
              <a:off x="4061909" y="1577903"/>
              <a:ext cx="3004943" cy="0"/>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F9ECB8DE-0FC9-3B4A-9A68-9C63BD7A687F}"/>
                </a:ext>
              </a:extLst>
            </p:cNvPr>
            <p:cNvCxnSpPr/>
            <p:nvPr userDrawn="1"/>
          </p:nvCxnSpPr>
          <p:spPr>
            <a:xfrm>
              <a:off x="4061909" y="1565906"/>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33548AC8-8CD5-284C-8A33-DF0DD9A49812}"/>
                </a:ext>
              </a:extLst>
            </p:cNvPr>
            <p:cNvCxnSpPr/>
            <p:nvPr userDrawn="1"/>
          </p:nvCxnSpPr>
          <p:spPr>
            <a:xfrm>
              <a:off x="4061909" y="3538669"/>
              <a:ext cx="0" cy="661856"/>
            </a:xfrm>
            <a:prstGeom prst="line">
              <a:avLst/>
            </a:prstGeom>
            <a:solidFill>
              <a:schemeClr val="tx1">
                <a:lumMod val="85000"/>
                <a:lumOff val="15000"/>
              </a:schemeClr>
            </a:solidFill>
            <a:ln w="28575">
              <a:solidFill>
                <a:srgbClr val="083F59"/>
              </a:solidFill>
            </a:ln>
            <a:effectLst/>
          </p:spPr>
          <p:style>
            <a:lnRef idx="1">
              <a:schemeClr val="accent1"/>
            </a:lnRef>
            <a:fillRef idx="0">
              <a:schemeClr val="accent1"/>
            </a:fillRef>
            <a:effectRef idx="0">
              <a:schemeClr val="accent1"/>
            </a:effectRef>
            <a:fontRef idx="minor">
              <a:schemeClr val="tx1"/>
            </a:fontRef>
          </p:style>
        </p:cxnSp>
      </p:grpSp>
      <p:sp>
        <p:nvSpPr>
          <p:cNvPr id="2" name="Slide Number Placeholder 5">
            <a:extLst>
              <a:ext uri="{FF2B5EF4-FFF2-40B4-BE49-F238E27FC236}">
                <a16:creationId xmlns:a16="http://schemas.microsoft.com/office/drawing/2014/main" id="{B6868667-8089-5472-01E7-5AE4F08363C2}"/>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2873377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hoto/text slide 1">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731ADCFA-BA22-D111-795C-BB4F5BC9CCC4}"/>
              </a:ext>
            </a:extLst>
          </p:cNvPr>
          <p:cNvSpPr/>
          <p:nvPr userDrawn="1"/>
        </p:nvSpPr>
        <p:spPr>
          <a:xfrm>
            <a:off x="420974" y="268941"/>
            <a:ext cx="3284648" cy="9568980"/>
          </a:xfrm>
          <a:custGeom>
            <a:avLst/>
            <a:gdLst>
              <a:gd name="connsiteX0" fmla="*/ 0 w 3284648"/>
              <a:gd name="connsiteY0" fmla="*/ 0 h 9568980"/>
              <a:gd name="connsiteX1" fmla="*/ 2703204 w 3284648"/>
              <a:gd name="connsiteY1" fmla="*/ 0 h 9568980"/>
              <a:gd name="connsiteX2" fmla="*/ 3284648 w 3284648"/>
              <a:gd name="connsiteY2" fmla="*/ 669472 h 9568980"/>
              <a:gd name="connsiteX3" fmla="*/ 3284648 w 3284648"/>
              <a:gd name="connsiteY3" fmla="*/ 9568980 h 9568980"/>
              <a:gd name="connsiteX4" fmla="*/ 853806 w 3284648"/>
              <a:gd name="connsiteY4" fmla="*/ 9568980 h 9568980"/>
              <a:gd name="connsiteX5" fmla="*/ 0 w 3284648"/>
              <a:gd name="connsiteY5" fmla="*/ 8585914 h 956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4648" h="9568980">
                <a:moveTo>
                  <a:pt x="0" y="0"/>
                </a:moveTo>
                <a:lnTo>
                  <a:pt x="2703204" y="0"/>
                </a:lnTo>
                <a:cubicBezTo>
                  <a:pt x="3024530" y="0"/>
                  <a:pt x="3284648" y="299500"/>
                  <a:pt x="3284648" y="669472"/>
                </a:cubicBezTo>
                <a:lnTo>
                  <a:pt x="3284648" y="9568980"/>
                </a:lnTo>
                <a:lnTo>
                  <a:pt x="853806" y="9568980"/>
                </a:lnTo>
                <a:cubicBezTo>
                  <a:pt x="382530" y="9568980"/>
                  <a:pt x="0" y="9128538"/>
                  <a:pt x="0" y="8585914"/>
                </a:cubicBezTo>
                <a:close/>
              </a:path>
            </a:pathLst>
          </a:custGeom>
          <a:solidFill>
            <a:srgbClr val="0E72B5"/>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78" name="Text Placeholder 32">
            <a:extLst>
              <a:ext uri="{FF2B5EF4-FFF2-40B4-BE49-F238E27FC236}">
                <a16:creationId xmlns:a16="http://schemas.microsoft.com/office/drawing/2014/main" id="{11382AE3-8A1D-D143-9FF3-2B2874F34CA0}"/>
              </a:ext>
            </a:extLst>
          </p:cNvPr>
          <p:cNvSpPr>
            <a:spLocks noGrp="1"/>
          </p:cNvSpPr>
          <p:nvPr>
            <p:ph type="body" sz="quarter" idx="30" hasCustomPrompt="1"/>
          </p:nvPr>
        </p:nvSpPr>
        <p:spPr>
          <a:xfrm>
            <a:off x="683565" y="1027561"/>
            <a:ext cx="2864232" cy="879667"/>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379" name="Text Placeholder 32">
            <a:extLst>
              <a:ext uri="{FF2B5EF4-FFF2-40B4-BE49-F238E27FC236}">
                <a16:creationId xmlns:a16="http://schemas.microsoft.com/office/drawing/2014/main" id="{A54007D5-E3AF-D04F-99D9-03A0ED2A386B}"/>
              </a:ext>
            </a:extLst>
          </p:cNvPr>
          <p:cNvSpPr>
            <a:spLocks noGrp="1"/>
          </p:cNvSpPr>
          <p:nvPr>
            <p:ph type="body" sz="quarter" idx="32" hasCustomPrompt="1"/>
          </p:nvPr>
        </p:nvSpPr>
        <p:spPr>
          <a:xfrm>
            <a:off x="683565" y="2424204"/>
            <a:ext cx="2693750" cy="7339954"/>
          </a:xfrm>
          <a:prstGeom prst="rect">
            <a:avLst/>
          </a:prstGeom>
        </p:spPr>
        <p:txBody>
          <a:bodyPr anchor="t">
            <a:noAutofit/>
          </a:bodyPr>
          <a:lstStyle>
            <a:lvl1pPr marL="0" indent="0" algn="l">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a:t>
            </a:r>
            <a:endParaRPr lang="en-US" dirty="0"/>
          </a:p>
        </p:txBody>
      </p:sp>
      <p:sp>
        <p:nvSpPr>
          <p:cNvPr id="388" name="Picture Placeholder 387">
            <a:extLst>
              <a:ext uri="{FF2B5EF4-FFF2-40B4-BE49-F238E27FC236}">
                <a16:creationId xmlns:a16="http://schemas.microsoft.com/office/drawing/2014/main" id="{7E7D4303-6A3B-F749-8FA0-836953666012}"/>
              </a:ext>
            </a:extLst>
          </p:cNvPr>
          <p:cNvSpPr>
            <a:spLocks noGrp="1"/>
          </p:cNvSpPr>
          <p:nvPr>
            <p:ph type="pic" sz="quarter" idx="41"/>
          </p:nvPr>
        </p:nvSpPr>
        <p:spPr>
          <a:xfrm>
            <a:off x="3705622" y="1178454"/>
            <a:ext cx="3854053" cy="8334904"/>
          </a:xfrm>
          <a:custGeom>
            <a:avLst/>
            <a:gdLst>
              <a:gd name="connsiteX0" fmla="*/ 0 w 3854053"/>
              <a:gd name="connsiteY0" fmla="*/ 995752 h 8334904"/>
              <a:gd name="connsiteX1" fmla="*/ 3852079 w 3854053"/>
              <a:gd name="connsiteY1" fmla="*/ 995752 h 8334904"/>
              <a:gd name="connsiteX2" fmla="*/ 3852079 w 3854053"/>
              <a:gd name="connsiteY2" fmla="*/ 3188374 h 8334904"/>
              <a:gd name="connsiteX3" fmla="*/ 3854053 w 3854053"/>
              <a:gd name="connsiteY3" fmla="*/ 3188374 h 8334904"/>
              <a:gd name="connsiteX4" fmla="*/ 3854053 w 3854053"/>
              <a:gd name="connsiteY4" fmla="*/ 8027939 h 8334904"/>
              <a:gd name="connsiteX5" fmla="*/ 3852079 w 3854053"/>
              <a:gd name="connsiteY5" fmla="*/ 8027939 h 8334904"/>
              <a:gd name="connsiteX6" fmla="*/ 3852079 w 3854053"/>
              <a:gd name="connsiteY6" fmla="*/ 8334904 h 8334904"/>
              <a:gd name="connsiteX7" fmla="*/ 0 w 3854053"/>
              <a:gd name="connsiteY7" fmla="*/ 8334904 h 8334904"/>
              <a:gd name="connsiteX8" fmla="*/ 0 w 3854053"/>
              <a:gd name="connsiteY8" fmla="*/ 0 h 8334904"/>
              <a:gd name="connsiteX9" fmla="*/ 3852079 w 3854053"/>
              <a:gd name="connsiteY9" fmla="*/ 0 h 8334904"/>
              <a:gd name="connsiteX10" fmla="*/ 3852079 w 3854053"/>
              <a:gd name="connsiteY10" fmla="*/ 941961 h 8334904"/>
              <a:gd name="connsiteX11" fmla="*/ 0 w 3854053"/>
              <a:gd name="connsiteY11" fmla="*/ 941961 h 833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4053" h="8334904">
                <a:moveTo>
                  <a:pt x="0" y="995752"/>
                </a:moveTo>
                <a:lnTo>
                  <a:pt x="3852079" y="995752"/>
                </a:lnTo>
                <a:lnTo>
                  <a:pt x="3852079" y="3188374"/>
                </a:lnTo>
                <a:lnTo>
                  <a:pt x="3854053" y="3188374"/>
                </a:lnTo>
                <a:lnTo>
                  <a:pt x="3854053" y="8027939"/>
                </a:lnTo>
                <a:lnTo>
                  <a:pt x="3852079" y="8027939"/>
                </a:lnTo>
                <a:lnTo>
                  <a:pt x="3852079" y="8334904"/>
                </a:lnTo>
                <a:lnTo>
                  <a:pt x="0" y="8334904"/>
                </a:lnTo>
                <a:close/>
                <a:moveTo>
                  <a:pt x="0" y="0"/>
                </a:moveTo>
                <a:lnTo>
                  <a:pt x="3852079" y="0"/>
                </a:lnTo>
                <a:lnTo>
                  <a:pt x="3852079" y="941961"/>
                </a:lnTo>
                <a:lnTo>
                  <a:pt x="0" y="941961"/>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31" name="Freeform 30">
            <a:extLst>
              <a:ext uri="{FF2B5EF4-FFF2-40B4-BE49-F238E27FC236}">
                <a16:creationId xmlns:a16="http://schemas.microsoft.com/office/drawing/2014/main" id="{5B1B9CA5-0E21-E740-9234-251FA1CB61D0}"/>
              </a:ext>
            </a:extLst>
          </p:cNvPr>
          <p:cNvSpPr/>
          <p:nvPr userDrawn="1"/>
        </p:nvSpPr>
        <p:spPr>
          <a:xfrm rot="10800000">
            <a:off x="1677895" y="2120415"/>
            <a:ext cx="5914090" cy="53791"/>
          </a:xfrm>
          <a:custGeom>
            <a:avLst/>
            <a:gdLst>
              <a:gd name="connsiteX0" fmla="*/ 5914090 w 5914090"/>
              <a:gd name="connsiteY0" fmla="*/ 53791 h 53791"/>
              <a:gd name="connsiteX1" fmla="*/ 0 w 5914090"/>
              <a:gd name="connsiteY1" fmla="*/ 53791 h 53791"/>
              <a:gd name="connsiteX2" fmla="*/ 0 w 5914090"/>
              <a:gd name="connsiteY2" fmla="*/ 0 h 53791"/>
              <a:gd name="connsiteX3" fmla="*/ 5914090 w 5914090"/>
              <a:gd name="connsiteY3" fmla="*/ 0 h 53791"/>
            </a:gdLst>
            <a:ahLst/>
            <a:cxnLst>
              <a:cxn ang="0">
                <a:pos x="connsiteX0" y="connsiteY0"/>
              </a:cxn>
              <a:cxn ang="0">
                <a:pos x="connsiteX1" y="connsiteY1"/>
              </a:cxn>
              <a:cxn ang="0">
                <a:pos x="connsiteX2" y="connsiteY2"/>
              </a:cxn>
              <a:cxn ang="0">
                <a:pos x="connsiteX3" y="connsiteY3"/>
              </a:cxn>
            </a:cxnLst>
            <a:rect l="l" t="t" r="r" b="b"/>
            <a:pathLst>
              <a:path w="5914090" h="53791">
                <a:moveTo>
                  <a:pt x="5914090" y="53791"/>
                </a:moveTo>
                <a:lnTo>
                  <a:pt x="0" y="53791"/>
                </a:lnTo>
                <a:lnTo>
                  <a:pt x="0" y="0"/>
                </a:lnTo>
                <a:lnTo>
                  <a:pt x="5914090" y="0"/>
                </a:lnTo>
                <a:close/>
              </a:path>
            </a:pathLst>
          </a:custGeom>
          <a:solidFill>
            <a:srgbClr val="E14726"/>
          </a:solidFill>
          <a:ln w="7702"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7" name="Slide Number Placeholder 5">
            <a:extLst>
              <a:ext uri="{FF2B5EF4-FFF2-40B4-BE49-F238E27FC236}">
                <a16:creationId xmlns:a16="http://schemas.microsoft.com/office/drawing/2014/main" id="{E8F72627-A5C4-8595-10C2-34DD738F71E2}"/>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1736404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slide 1">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67609D48-3161-394E-8C0A-B39FACB9B391}"/>
              </a:ext>
            </a:extLst>
          </p:cNvPr>
          <p:cNvSpPr/>
          <p:nvPr userDrawn="1"/>
        </p:nvSpPr>
        <p:spPr>
          <a:xfrm>
            <a:off x="643114" y="1386989"/>
            <a:ext cx="6916560" cy="8364959"/>
          </a:xfrm>
          <a:custGeom>
            <a:avLst/>
            <a:gdLst>
              <a:gd name="connsiteX0" fmla="*/ 1965445 w 1965444"/>
              <a:gd name="connsiteY0" fmla="*/ 2136600 h 2136600"/>
              <a:gd name="connsiteX1" fmla="*/ 301407 w 1965444"/>
              <a:gd name="connsiteY1" fmla="*/ 2136600 h 2136600"/>
              <a:gd name="connsiteX2" fmla="*/ 0 w 1965444"/>
              <a:gd name="connsiteY2" fmla="*/ 1835280 h 2136600"/>
              <a:gd name="connsiteX3" fmla="*/ 0 w 1965444"/>
              <a:gd name="connsiteY3" fmla="*/ 0 h 2136600"/>
              <a:gd name="connsiteX4" fmla="*/ 1760186 w 1965444"/>
              <a:gd name="connsiteY4" fmla="*/ 0 h 2136600"/>
              <a:gd name="connsiteX5" fmla="*/ 1965445 w 1965444"/>
              <a:gd name="connsiteY5" fmla="*/ 205200 h 2136600"/>
              <a:gd name="connsiteX6" fmla="*/ 1965445 w 1965444"/>
              <a:gd name="connsiteY6" fmla="*/ 2136600 h 2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444" h="2136600">
                <a:moveTo>
                  <a:pt x="1965445" y="2136600"/>
                </a:moveTo>
                <a:lnTo>
                  <a:pt x="301407" y="2136600"/>
                </a:lnTo>
                <a:cubicBezTo>
                  <a:pt x="135039" y="2136600"/>
                  <a:pt x="0" y="2001600"/>
                  <a:pt x="0" y="1835280"/>
                </a:cubicBezTo>
                <a:lnTo>
                  <a:pt x="0" y="0"/>
                </a:lnTo>
                <a:lnTo>
                  <a:pt x="1760186" y="0"/>
                </a:lnTo>
                <a:cubicBezTo>
                  <a:pt x="1873619" y="0"/>
                  <a:pt x="1965445" y="91800"/>
                  <a:pt x="1965445" y="205200"/>
                </a:cubicBezTo>
                <a:lnTo>
                  <a:pt x="1965445" y="213660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333" name="Text Placeholder 32">
            <a:extLst>
              <a:ext uri="{FF2B5EF4-FFF2-40B4-BE49-F238E27FC236}">
                <a16:creationId xmlns:a16="http://schemas.microsoft.com/office/drawing/2014/main" id="{A727C006-75BB-A447-8A65-530003183684}"/>
              </a:ext>
            </a:extLst>
          </p:cNvPr>
          <p:cNvSpPr>
            <a:spLocks noGrp="1"/>
          </p:cNvSpPr>
          <p:nvPr>
            <p:ph type="body" sz="quarter" idx="30" hasCustomPrompt="1"/>
          </p:nvPr>
        </p:nvSpPr>
        <p:spPr>
          <a:xfrm>
            <a:off x="2209979" y="652042"/>
            <a:ext cx="4837229" cy="946746"/>
          </a:xfrm>
          <a:prstGeom prst="rect">
            <a:avLst/>
          </a:prstGeom>
        </p:spPr>
        <p:txBody>
          <a:bodyPr>
            <a:noAutofit/>
          </a:bodyPr>
          <a:lstStyle>
            <a:lvl1pPr marL="0" indent="0" algn="r">
              <a:buNone/>
              <a:defRPr sz="2200" b="1" i="0">
                <a:solidFill>
                  <a:srgbClr val="E14726"/>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334" name="Text Placeholder 32">
            <a:extLst>
              <a:ext uri="{FF2B5EF4-FFF2-40B4-BE49-F238E27FC236}">
                <a16:creationId xmlns:a16="http://schemas.microsoft.com/office/drawing/2014/main" id="{3D2FCAC4-8FFC-9E44-A348-FCF3F5BFF6E9}"/>
              </a:ext>
            </a:extLst>
          </p:cNvPr>
          <p:cNvSpPr>
            <a:spLocks noGrp="1"/>
          </p:cNvSpPr>
          <p:nvPr>
            <p:ph type="body" sz="quarter" idx="32" hasCustomPrompt="1"/>
          </p:nvPr>
        </p:nvSpPr>
        <p:spPr>
          <a:xfrm>
            <a:off x="903720" y="2484183"/>
            <a:ext cx="6079693" cy="6820641"/>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32" name="Freeform 31">
            <a:extLst>
              <a:ext uri="{FF2B5EF4-FFF2-40B4-BE49-F238E27FC236}">
                <a16:creationId xmlns:a16="http://schemas.microsoft.com/office/drawing/2014/main" id="{CEE1DC3A-C5B9-654A-8D7F-C2F3DA72D2EC}"/>
              </a:ext>
            </a:extLst>
          </p:cNvPr>
          <p:cNvSpPr/>
          <p:nvPr userDrawn="1"/>
        </p:nvSpPr>
        <p:spPr>
          <a:xfrm rot="10800000">
            <a:off x="1677895" y="1844633"/>
            <a:ext cx="5914090" cy="53791"/>
          </a:xfrm>
          <a:custGeom>
            <a:avLst/>
            <a:gdLst>
              <a:gd name="connsiteX0" fmla="*/ 5914090 w 5914090"/>
              <a:gd name="connsiteY0" fmla="*/ 53791 h 53791"/>
              <a:gd name="connsiteX1" fmla="*/ 0 w 5914090"/>
              <a:gd name="connsiteY1" fmla="*/ 53791 h 53791"/>
              <a:gd name="connsiteX2" fmla="*/ 0 w 5914090"/>
              <a:gd name="connsiteY2" fmla="*/ 0 h 53791"/>
              <a:gd name="connsiteX3" fmla="*/ 5914090 w 5914090"/>
              <a:gd name="connsiteY3" fmla="*/ 0 h 53791"/>
            </a:gdLst>
            <a:ahLst/>
            <a:cxnLst>
              <a:cxn ang="0">
                <a:pos x="connsiteX0" y="connsiteY0"/>
              </a:cxn>
              <a:cxn ang="0">
                <a:pos x="connsiteX1" y="connsiteY1"/>
              </a:cxn>
              <a:cxn ang="0">
                <a:pos x="connsiteX2" y="connsiteY2"/>
              </a:cxn>
              <a:cxn ang="0">
                <a:pos x="connsiteX3" y="connsiteY3"/>
              </a:cxn>
            </a:cxnLst>
            <a:rect l="l" t="t" r="r" b="b"/>
            <a:pathLst>
              <a:path w="5914090" h="53791">
                <a:moveTo>
                  <a:pt x="5914090" y="53791"/>
                </a:moveTo>
                <a:lnTo>
                  <a:pt x="0" y="53791"/>
                </a:lnTo>
                <a:lnTo>
                  <a:pt x="0" y="0"/>
                </a:lnTo>
                <a:lnTo>
                  <a:pt x="5914090" y="0"/>
                </a:lnTo>
                <a:close/>
              </a:path>
            </a:pathLst>
          </a:custGeom>
          <a:solidFill>
            <a:srgbClr val="E14726"/>
          </a:solidFill>
          <a:ln w="7702"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8" name="Slide Number Placeholder 5">
            <a:extLst>
              <a:ext uri="{FF2B5EF4-FFF2-40B4-BE49-F238E27FC236}">
                <a16:creationId xmlns:a16="http://schemas.microsoft.com/office/drawing/2014/main" id="{A80991E7-1A5B-4CAF-EB74-AE0C47BF98FB}"/>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grpSp>
        <p:nvGrpSpPr>
          <p:cNvPr id="2" name="Group 1">
            <a:extLst>
              <a:ext uri="{FF2B5EF4-FFF2-40B4-BE49-F238E27FC236}">
                <a16:creationId xmlns:a16="http://schemas.microsoft.com/office/drawing/2014/main" id="{4982F894-86CC-B8DD-A665-3E8DE62DB616}"/>
              </a:ext>
            </a:extLst>
          </p:cNvPr>
          <p:cNvGrpSpPr/>
          <p:nvPr userDrawn="1"/>
        </p:nvGrpSpPr>
        <p:grpSpPr>
          <a:xfrm flipH="1">
            <a:off x="193131" y="8264487"/>
            <a:ext cx="1697453" cy="1913197"/>
            <a:chOff x="9735550" y="2624016"/>
            <a:chExt cx="1697453" cy="1913197"/>
          </a:xfrm>
        </p:grpSpPr>
        <p:sp>
          <p:nvSpPr>
            <p:cNvPr id="3" name="Freeform 2">
              <a:extLst>
                <a:ext uri="{FF2B5EF4-FFF2-40B4-BE49-F238E27FC236}">
                  <a16:creationId xmlns:a16="http://schemas.microsoft.com/office/drawing/2014/main" id="{3CF1D7BD-3D98-908D-A56D-E800AF16E4D2}"/>
                </a:ext>
              </a:extLst>
            </p:cNvPr>
            <p:cNvSpPr/>
            <p:nvPr/>
          </p:nvSpPr>
          <p:spPr>
            <a:xfrm>
              <a:off x="10349589" y="2624016"/>
              <a:ext cx="1083414" cy="1913197"/>
            </a:xfrm>
            <a:custGeom>
              <a:avLst/>
              <a:gdLst>
                <a:gd name="connsiteX0" fmla="*/ 229218 w 701466"/>
                <a:gd name="connsiteY0" fmla="*/ 370759 h 1238716"/>
                <a:gd name="connsiteX1" fmla="*/ 441317 w 701466"/>
                <a:gd name="connsiteY1" fmla="*/ 375513 h 1238716"/>
                <a:gd name="connsiteX2" fmla="*/ 139814 w 701466"/>
                <a:gd name="connsiteY2" fmla="*/ 900279 h 1238716"/>
                <a:gd name="connsiteX3" fmla="*/ 0 w 701466"/>
                <a:gd name="connsiteY3" fmla="*/ 1013409 h 1238716"/>
                <a:gd name="connsiteX4" fmla="*/ 75138 w 701466"/>
                <a:gd name="connsiteY4" fmla="*/ 1238716 h 1238716"/>
                <a:gd name="connsiteX5" fmla="*/ 563059 w 701466"/>
                <a:gd name="connsiteY5" fmla="*/ 708245 h 1238716"/>
                <a:gd name="connsiteX6" fmla="*/ 695264 w 701466"/>
                <a:gd name="connsiteY6" fmla="*/ 0 h 1238716"/>
                <a:gd name="connsiteX7" fmla="*/ 265361 w 701466"/>
                <a:gd name="connsiteY7" fmla="*/ 143550 h 1238716"/>
                <a:gd name="connsiteX8" fmla="*/ 229218 w 701466"/>
                <a:gd name="connsiteY8" fmla="*/ 370759 h 123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66" h="1238716">
                  <a:moveTo>
                    <a:pt x="229218" y="370759"/>
                  </a:moveTo>
                  <a:lnTo>
                    <a:pt x="441317" y="375513"/>
                  </a:lnTo>
                  <a:cubicBezTo>
                    <a:pt x="393761" y="574201"/>
                    <a:pt x="291041" y="755778"/>
                    <a:pt x="139814" y="900279"/>
                  </a:cubicBezTo>
                  <a:cubicBezTo>
                    <a:pt x="96063" y="942109"/>
                    <a:pt x="49458" y="980135"/>
                    <a:pt x="0" y="1013409"/>
                  </a:cubicBezTo>
                  <a:lnTo>
                    <a:pt x="75138" y="1238716"/>
                  </a:lnTo>
                  <a:cubicBezTo>
                    <a:pt x="283432" y="1113229"/>
                    <a:pt x="451779" y="930701"/>
                    <a:pt x="563059" y="708245"/>
                  </a:cubicBezTo>
                  <a:cubicBezTo>
                    <a:pt x="674339" y="485790"/>
                    <a:pt x="719042" y="241469"/>
                    <a:pt x="695264" y="0"/>
                  </a:cubicBezTo>
                  <a:lnTo>
                    <a:pt x="265361" y="143550"/>
                  </a:lnTo>
                  <a:cubicBezTo>
                    <a:pt x="263458" y="221505"/>
                    <a:pt x="251094" y="297558"/>
                    <a:pt x="229218" y="370759"/>
                  </a:cubicBezTo>
                  <a:close/>
                </a:path>
              </a:pathLst>
            </a:custGeom>
            <a:solidFill>
              <a:srgbClr val="2BACE2"/>
            </a:solidFill>
            <a:ln w="9504"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6534F54D-2408-6B19-662C-446BEBA9239A}"/>
                </a:ext>
              </a:extLst>
            </p:cNvPr>
            <p:cNvSpPr/>
            <p:nvPr/>
          </p:nvSpPr>
          <p:spPr>
            <a:xfrm>
              <a:off x="9735550" y="3192249"/>
              <a:ext cx="968066" cy="1253928"/>
            </a:xfrm>
            <a:custGeom>
              <a:avLst/>
              <a:gdLst>
                <a:gd name="connsiteX0" fmla="*/ 626784 w 626783"/>
                <a:gd name="connsiteY0" fmla="*/ 2852 h 811867"/>
                <a:gd name="connsiteX1" fmla="*/ 486019 w 626783"/>
                <a:gd name="connsiteY1" fmla="*/ 0 h 811867"/>
                <a:gd name="connsiteX2" fmla="*/ 7609 w 626783"/>
                <a:gd name="connsiteY2" fmla="*/ 459171 h 811867"/>
                <a:gd name="connsiteX3" fmla="*/ 0 w 626783"/>
                <a:gd name="connsiteY3" fmla="*/ 811868 h 811867"/>
                <a:gd name="connsiteX4" fmla="*/ 397566 w 626783"/>
                <a:gd name="connsiteY4" fmla="*/ 646452 h 811867"/>
                <a:gd name="connsiteX5" fmla="*/ 329085 w 626783"/>
                <a:gd name="connsiteY5" fmla="*/ 442059 h 811867"/>
                <a:gd name="connsiteX6" fmla="*/ 626784 w 626783"/>
                <a:gd name="connsiteY6" fmla="*/ 2852 h 81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783" h="811867">
                  <a:moveTo>
                    <a:pt x="626784" y="2852"/>
                  </a:moveTo>
                  <a:lnTo>
                    <a:pt x="486019" y="0"/>
                  </a:lnTo>
                  <a:cubicBezTo>
                    <a:pt x="408979" y="219603"/>
                    <a:pt x="230169" y="390723"/>
                    <a:pt x="7609" y="459171"/>
                  </a:cubicBezTo>
                  <a:lnTo>
                    <a:pt x="0" y="811868"/>
                  </a:lnTo>
                  <a:cubicBezTo>
                    <a:pt x="142667" y="784298"/>
                    <a:pt x="276774" y="728209"/>
                    <a:pt x="397566" y="646452"/>
                  </a:cubicBezTo>
                  <a:lnTo>
                    <a:pt x="329085" y="442059"/>
                  </a:lnTo>
                  <a:cubicBezTo>
                    <a:pt x="472703" y="328930"/>
                    <a:pt x="576375" y="174922"/>
                    <a:pt x="626784" y="2852"/>
                  </a:cubicBezTo>
                  <a:close/>
                </a:path>
              </a:pathLst>
            </a:custGeom>
            <a:solidFill>
              <a:srgbClr val="06A64F"/>
            </a:solidFill>
            <a:ln w="9504"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9AF92D5E-9E3B-6340-0872-5E6781F49F84}"/>
                </a:ext>
              </a:extLst>
            </p:cNvPr>
            <p:cNvSpPr/>
            <p:nvPr/>
          </p:nvSpPr>
          <p:spPr>
            <a:xfrm>
              <a:off x="10245289" y="3196656"/>
              <a:ext cx="787380" cy="992571"/>
            </a:xfrm>
            <a:custGeom>
              <a:avLst/>
              <a:gdLst>
                <a:gd name="connsiteX0" fmla="*/ 509797 w 509796"/>
                <a:gd name="connsiteY0" fmla="*/ 4753 h 642649"/>
                <a:gd name="connsiteX1" fmla="*/ 297698 w 509796"/>
                <a:gd name="connsiteY1" fmla="*/ 0 h 642649"/>
                <a:gd name="connsiteX2" fmla="*/ 0 w 509796"/>
                <a:gd name="connsiteY2" fmla="*/ 438256 h 642649"/>
                <a:gd name="connsiteX3" fmla="*/ 68480 w 509796"/>
                <a:gd name="connsiteY3" fmla="*/ 642649 h 642649"/>
                <a:gd name="connsiteX4" fmla="*/ 208294 w 509796"/>
                <a:gd name="connsiteY4" fmla="*/ 529520 h 642649"/>
                <a:gd name="connsiteX5" fmla="*/ 509797 w 509796"/>
                <a:gd name="connsiteY5" fmla="*/ 4753 h 6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796" h="642649">
                  <a:moveTo>
                    <a:pt x="509797" y="4753"/>
                  </a:moveTo>
                  <a:lnTo>
                    <a:pt x="297698" y="0"/>
                  </a:lnTo>
                  <a:cubicBezTo>
                    <a:pt x="247290" y="172070"/>
                    <a:pt x="143618" y="326078"/>
                    <a:pt x="0" y="438256"/>
                  </a:cubicBezTo>
                  <a:lnTo>
                    <a:pt x="68480" y="642649"/>
                  </a:lnTo>
                  <a:cubicBezTo>
                    <a:pt x="117938" y="609376"/>
                    <a:pt x="164543" y="571350"/>
                    <a:pt x="208294" y="529520"/>
                  </a:cubicBezTo>
                  <a:cubicBezTo>
                    <a:pt x="358570" y="385019"/>
                    <a:pt x="462241" y="203442"/>
                    <a:pt x="509797" y="4753"/>
                  </a:cubicBezTo>
                  <a:close/>
                </a:path>
              </a:pathLst>
            </a:custGeom>
            <a:solidFill>
              <a:srgbClr val="2AC3E6"/>
            </a:solidFill>
            <a:ln w="9504" cap="flat">
              <a:noFill/>
              <a:prstDash val="solid"/>
              <a:miter/>
            </a:ln>
          </p:spPr>
          <p:txBody>
            <a:bodyPr rtlCol="0" anchor="ctr"/>
            <a:lstStyle/>
            <a:p>
              <a:endParaRPr lang="en-US"/>
            </a:p>
          </p:txBody>
        </p:sp>
      </p:grpSp>
    </p:spTree>
    <p:extLst>
      <p:ext uri="{BB962C8B-B14F-4D97-AF65-F5344CB8AC3E}">
        <p14:creationId xmlns:p14="http://schemas.microsoft.com/office/powerpoint/2010/main" val="498135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hoto/text slide 2">
    <p:spTree>
      <p:nvGrpSpPr>
        <p:cNvPr id="1" name=""/>
        <p:cNvGrpSpPr/>
        <p:nvPr/>
      </p:nvGrpSpPr>
      <p:grpSpPr>
        <a:xfrm>
          <a:off x="0" y="0"/>
          <a:ext cx="0" cy="0"/>
          <a:chOff x="0" y="0"/>
          <a:chExt cx="0" cy="0"/>
        </a:xfrm>
      </p:grpSpPr>
      <p:sp>
        <p:nvSpPr>
          <p:cNvPr id="32" name="Freeform 31">
            <a:extLst>
              <a:ext uri="{FF2B5EF4-FFF2-40B4-BE49-F238E27FC236}">
                <a16:creationId xmlns:a16="http://schemas.microsoft.com/office/drawing/2014/main" id="{C6365CBB-E42B-5941-9FB8-2D505B0B5904}"/>
              </a:ext>
            </a:extLst>
          </p:cNvPr>
          <p:cNvSpPr/>
          <p:nvPr userDrawn="1"/>
        </p:nvSpPr>
        <p:spPr>
          <a:xfrm>
            <a:off x="461309" y="2712698"/>
            <a:ext cx="3436545" cy="2405402"/>
          </a:xfrm>
          <a:custGeom>
            <a:avLst/>
            <a:gdLst>
              <a:gd name="connsiteX0" fmla="*/ 960756 w 960756"/>
              <a:gd name="connsiteY0" fmla="*/ 672480 h 672479"/>
              <a:gd name="connsiteX1" fmla="*/ 301406 w 960756"/>
              <a:gd name="connsiteY1" fmla="*/ 672480 h 672479"/>
              <a:gd name="connsiteX2" fmla="*/ 0 w 960756"/>
              <a:gd name="connsiteY2" fmla="*/ 371160 h 672479"/>
              <a:gd name="connsiteX3" fmla="*/ 0 w 960756"/>
              <a:gd name="connsiteY3" fmla="*/ 0 h 672479"/>
              <a:gd name="connsiteX4" fmla="*/ 755497 w 960756"/>
              <a:gd name="connsiteY4" fmla="*/ 0 h 672479"/>
              <a:gd name="connsiteX5" fmla="*/ 960756 w 960756"/>
              <a:gd name="connsiteY5" fmla="*/ 205200 h 672479"/>
              <a:gd name="connsiteX6" fmla="*/ 960756 w 960756"/>
              <a:gd name="connsiteY6" fmla="*/ 672480 h 67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756" h="672479">
                <a:moveTo>
                  <a:pt x="960756" y="672480"/>
                </a:moveTo>
                <a:lnTo>
                  <a:pt x="301406" y="672480"/>
                </a:lnTo>
                <a:cubicBezTo>
                  <a:pt x="135039" y="672480"/>
                  <a:pt x="0" y="537480"/>
                  <a:pt x="0" y="371160"/>
                </a:cubicBezTo>
                <a:lnTo>
                  <a:pt x="0" y="0"/>
                </a:lnTo>
                <a:lnTo>
                  <a:pt x="755497" y="0"/>
                </a:lnTo>
                <a:cubicBezTo>
                  <a:pt x="868930" y="0"/>
                  <a:pt x="960756" y="91800"/>
                  <a:pt x="960756" y="205200"/>
                </a:cubicBezTo>
                <a:lnTo>
                  <a:pt x="960756" y="67248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35" name="Picture Placeholder 34">
            <a:extLst>
              <a:ext uri="{FF2B5EF4-FFF2-40B4-BE49-F238E27FC236}">
                <a16:creationId xmlns:a16="http://schemas.microsoft.com/office/drawing/2014/main" id="{888ACDE7-29DD-3E46-A78F-2228EFD94A9E}"/>
              </a:ext>
            </a:extLst>
          </p:cNvPr>
          <p:cNvSpPr>
            <a:spLocks noGrp="1"/>
          </p:cNvSpPr>
          <p:nvPr>
            <p:ph type="pic" sz="quarter" idx="41"/>
          </p:nvPr>
        </p:nvSpPr>
        <p:spPr>
          <a:xfrm>
            <a:off x="-1" y="-11581"/>
            <a:ext cx="7559675" cy="2723566"/>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r>
              <a:rPr lang="en-US" dirty="0"/>
              <a:t>C</a:t>
            </a:r>
          </a:p>
        </p:txBody>
      </p:sp>
      <p:sp>
        <p:nvSpPr>
          <p:cNvPr id="33" name="Text Placeholder 32">
            <a:extLst>
              <a:ext uri="{FF2B5EF4-FFF2-40B4-BE49-F238E27FC236}">
                <a16:creationId xmlns:a16="http://schemas.microsoft.com/office/drawing/2014/main" id="{86A88A46-E61B-6540-920A-48F1C1274F3C}"/>
              </a:ext>
            </a:extLst>
          </p:cNvPr>
          <p:cNvSpPr>
            <a:spLocks noGrp="1"/>
          </p:cNvSpPr>
          <p:nvPr userDrawn="1">
            <p:ph type="body" sz="quarter" idx="30" hasCustomPrompt="1"/>
          </p:nvPr>
        </p:nvSpPr>
        <p:spPr>
          <a:xfrm>
            <a:off x="700476" y="3385177"/>
            <a:ext cx="2895713" cy="1595763"/>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37" name="Text Placeholder 32">
            <a:extLst>
              <a:ext uri="{FF2B5EF4-FFF2-40B4-BE49-F238E27FC236}">
                <a16:creationId xmlns:a16="http://schemas.microsoft.com/office/drawing/2014/main" id="{12FF88E7-F37D-4B4D-B65C-C01539E4E62C}"/>
              </a:ext>
            </a:extLst>
          </p:cNvPr>
          <p:cNvSpPr>
            <a:spLocks noGrp="1"/>
          </p:cNvSpPr>
          <p:nvPr userDrawn="1">
            <p:ph type="body" sz="quarter" idx="42" hasCustomPrompt="1"/>
          </p:nvPr>
        </p:nvSpPr>
        <p:spPr>
          <a:xfrm>
            <a:off x="503237" y="5345906"/>
            <a:ext cx="2977081" cy="4414479"/>
          </a:xfrm>
          <a:prstGeom prst="rect">
            <a:avLst/>
          </a:prstGeom>
        </p:spPr>
        <p:txBody>
          <a:bodyPr numCol="1" spcCol="288000" anchor="t">
            <a:noAutofit/>
          </a:bodyPr>
          <a:lstStyle>
            <a:lvl1pPr marL="0" indent="0" algn="just">
              <a:lnSpc>
                <a:spcPts val="1120"/>
              </a:lnSpc>
              <a:spcBef>
                <a:spcPts val="0"/>
              </a:spcBef>
              <a:buNone/>
              <a:defRPr sz="1100" b="0" i="0">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34" name="Freeform 33">
            <a:extLst>
              <a:ext uri="{FF2B5EF4-FFF2-40B4-BE49-F238E27FC236}">
                <a16:creationId xmlns:a16="http://schemas.microsoft.com/office/drawing/2014/main" id="{834B6D6D-832F-4B44-83A3-A06FD7C166E4}"/>
              </a:ext>
            </a:extLst>
          </p:cNvPr>
          <p:cNvSpPr/>
          <p:nvPr userDrawn="1"/>
        </p:nvSpPr>
        <p:spPr>
          <a:xfrm rot="10800000" flipV="1">
            <a:off x="-1" y="3128859"/>
            <a:ext cx="3240000" cy="45719"/>
          </a:xfrm>
          <a:custGeom>
            <a:avLst/>
            <a:gdLst>
              <a:gd name="connsiteX0" fmla="*/ 5914090 w 5914090"/>
              <a:gd name="connsiteY0" fmla="*/ 53791 h 53791"/>
              <a:gd name="connsiteX1" fmla="*/ 0 w 5914090"/>
              <a:gd name="connsiteY1" fmla="*/ 53791 h 53791"/>
              <a:gd name="connsiteX2" fmla="*/ 0 w 5914090"/>
              <a:gd name="connsiteY2" fmla="*/ 0 h 53791"/>
              <a:gd name="connsiteX3" fmla="*/ 5914090 w 5914090"/>
              <a:gd name="connsiteY3" fmla="*/ 0 h 53791"/>
            </a:gdLst>
            <a:ahLst/>
            <a:cxnLst>
              <a:cxn ang="0">
                <a:pos x="connsiteX0" y="connsiteY0"/>
              </a:cxn>
              <a:cxn ang="0">
                <a:pos x="connsiteX1" y="connsiteY1"/>
              </a:cxn>
              <a:cxn ang="0">
                <a:pos x="connsiteX2" y="connsiteY2"/>
              </a:cxn>
              <a:cxn ang="0">
                <a:pos x="connsiteX3" y="connsiteY3"/>
              </a:cxn>
            </a:cxnLst>
            <a:rect l="l" t="t" r="r" b="b"/>
            <a:pathLst>
              <a:path w="5914090" h="53791">
                <a:moveTo>
                  <a:pt x="5914090" y="53791"/>
                </a:moveTo>
                <a:lnTo>
                  <a:pt x="0" y="53791"/>
                </a:lnTo>
                <a:lnTo>
                  <a:pt x="0" y="0"/>
                </a:lnTo>
                <a:lnTo>
                  <a:pt x="5914090" y="0"/>
                </a:lnTo>
                <a:close/>
              </a:path>
            </a:pathLst>
          </a:custGeom>
          <a:solidFill>
            <a:srgbClr val="E14726"/>
          </a:solidFill>
          <a:ln w="7702"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Text Placeholder 32">
            <a:extLst>
              <a:ext uri="{FF2B5EF4-FFF2-40B4-BE49-F238E27FC236}">
                <a16:creationId xmlns:a16="http://schemas.microsoft.com/office/drawing/2014/main" id="{B522B9BC-B400-BBD0-6841-198288F0A347}"/>
              </a:ext>
            </a:extLst>
          </p:cNvPr>
          <p:cNvSpPr>
            <a:spLocks noGrp="1"/>
          </p:cNvSpPr>
          <p:nvPr>
            <p:ph type="body" sz="quarter" idx="44" hasCustomPrompt="1"/>
          </p:nvPr>
        </p:nvSpPr>
        <p:spPr>
          <a:xfrm>
            <a:off x="4151058" y="3276998"/>
            <a:ext cx="2832355" cy="6496776"/>
          </a:xfrm>
          <a:prstGeom prst="rect">
            <a:avLst/>
          </a:prstGeom>
        </p:spPr>
        <p:txBody>
          <a:bodyPr numCol="1" spcCol="288000" anchor="t">
            <a:noAutofit/>
          </a:bodyPr>
          <a:lstStyle>
            <a:lvl1pPr marL="0" indent="0" algn="just">
              <a:lnSpc>
                <a:spcPts val="1120"/>
              </a:lnSpc>
              <a:spcBef>
                <a:spcPts val="0"/>
              </a:spcBef>
              <a:buNone/>
              <a:defRPr sz="1100" b="0" i="0">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4" name="Slide Number Placeholder 5">
            <a:extLst>
              <a:ext uri="{FF2B5EF4-FFF2-40B4-BE49-F238E27FC236}">
                <a16:creationId xmlns:a16="http://schemas.microsoft.com/office/drawing/2014/main" id="{EC10413B-90D2-7EC1-8674-30CAEC9E5DAD}"/>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5216107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nly slide 2">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BE761B29-24B9-E190-2550-892D7920D4CF}"/>
              </a:ext>
            </a:extLst>
          </p:cNvPr>
          <p:cNvSpPr/>
          <p:nvPr userDrawn="1"/>
        </p:nvSpPr>
        <p:spPr>
          <a:xfrm>
            <a:off x="1052651" y="0"/>
            <a:ext cx="6507022" cy="2831758"/>
          </a:xfrm>
          <a:custGeom>
            <a:avLst/>
            <a:gdLst>
              <a:gd name="connsiteX0" fmla="*/ 0 w 6507022"/>
              <a:gd name="connsiteY0" fmla="*/ 0 h 2831758"/>
              <a:gd name="connsiteX1" fmla="*/ 6507022 w 6507022"/>
              <a:gd name="connsiteY1" fmla="*/ 0 h 2831758"/>
              <a:gd name="connsiteX2" fmla="*/ 6507022 w 6507022"/>
              <a:gd name="connsiteY2" fmla="*/ 2831758 h 2831758"/>
              <a:gd name="connsiteX3" fmla="*/ 1022366 w 6507022"/>
              <a:gd name="connsiteY3" fmla="*/ 2831758 h 2831758"/>
              <a:gd name="connsiteX4" fmla="*/ 0 w 6507022"/>
              <a:gd name="connsiteY4" fmla="*/ 1809688 h 2831758"/>
              <a:gd name="connsiteX5" fmla="*/ 0 w 6507022"/>
              <a:gd name="connsiteY5" fmla="*/ 0 h 283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7022" h="2831758">
                <a:moveTo>
                  <a:pt x="0" y="0"/>
                </a:moveTo>
                <a:lnTo>
                  <a:pt x="6507022" y="0"/>
                </a:lnTo>
                <a:lnTo>
                  <a:pt x="6507022" y="2831758"/>
                </a:lnTo>
                <a:lnTo>
                  <a:pt x="1022366" y="2831758"/>
                </a:lnTo>
                <a:cubicBezTo>
                  <a:pt x="458049" y="2831758"/>
                  <a:pt x="0" y="2373841"/>
                  <a:pt x="0" y="1809688"/>
                </a:cubicBezTo>
                <a:lnTo>
                  <a:pt x="0" y="0"/>
                </a:lnTo>
                <a:close/>
              </a:path>
            </a:pathLst>
          </a:custGeom>
          <a:solidFill>
            <a:srgbClr val="0E72B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 name="Text Placeholder 32">
            <a:extLst>
              <a:ext uri="{FF2B5EF4-FFF2-40B4-BE49-F238E27FC236}">
                <a16:creationId xmlns:a16="http://schemas.microsoft.com/office/drawing/2014/main" id="{CEDD8BBD-8C47-2147-BD5E-C2DCFBECE9A7}"/>
              </a:ext>
            </a:extLst>
          </p:cNvPr>
          <p:cNvSpPr>
            <a:spLocks noGrp="1"/>
          </p:cNvSpPr>
          <p:nvPr>
            <p:ph type="body" sz="quarter" idx="32" hasCustomPrompt="1"/>
          </p:nvPr>
        </p:nvSpPr>
        <p:spPr>
          <a:xfrm>
            <a:off x="503238" y="3373219"/>
            <a:ext cx="6507022" cy="5931605"/>
          </a:xfrm>
          <a:prstGeom prst="rect">
            <a:avLst/>
          </a:prstGeom>
        </p:spPr>
        <p:txBody>
          <a:bodyPr numCol="2" spcCol="288000" anchor="t">
            <a:noAutofit/>
          </a:bodyPr>
          <a:lstStyle>
            <a:lvl1pPr marL="0" indent="0" algn="just">
              <a:lnSpc>
                <a:spcPct val="100000"/>
              </a:lnSpc>
              <a:spcBef>
                <a:spcPts val="0"/>
              </a:spcBef>
              <a:buNone/>
              <a:defRPr sz="1100" b="0" i="0">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2" name="Freeform 1">
            <a:extLst>
              <a:ext uri="{FF2B5EF4-FFF2-40B4-BE49-F238E27FC236}">
                <a16:creationId xmlns:a16="http://schemas.microsoft.com/office/drawing/2014/main" id="{C37A24AC-27DC-66F2-7CA7-6C4714D505F0}"/>
              </a:ext>
            </a:extLst>
          </p:cNvPr>
          <p:cNvSpPr/>
          <p:nvPr userDrawn="1"/>
        </p:nvSpPr>
        <p:spPr>
          <a:xfrm>
            <a:off x="442736" y="711913"/>
            <a:ext cx="1306767" cy="945975"/>
          </a:xfrm>
          <a:custGeom>
            <a:avLst/>
            <a:gdLst>
              <a:gd name="connsiteX0" fmla="*/ 355667 w 1522388"/>
              <a:gd name="connsiteY0" fmla="*/ 1102064 h 1102064"/>
              <a:gd name="connsiteX1" fmla="*/ 331425 w 1522388"/>
              <a:gd name="connsiteY1" fmla="*/ 1101167 h 1102064"/>
              <a:gd name="connsiteX2" fmla="*/ 67016 w 1522388"/>
              <a:gd name="connsiteY2" fmla="*/ 970589 h 1102064"/>
              <a:gd name="connsiteX3" fmla="*/ 67016 w 1522388"/>
              <a:gd name="connsiteY3" fmla="*/ 970589 h 1102064"/>
              <a:gd name="connsiteX4" fmla="*/ 1475 w 1522388"/>
              <a:gd name="connsiteY4" fmla="*/ 694624 h 1102064"/>
              <a:gd name="connsiteX5" fmla="*/ 69261 w 1522388"/>
              <a:gd name="connsiteY5" fmla="*/ 411030 h 1102064"/>
              <a:gd name="connsiteX6" fmla="*/ 449489 w 1522388"/>
              <a:gd name="connsiteY6" fmla="*/ 6282 h 1102064"/>
              <a:gd name="connsiteX7" fmla="*/ 460712 w 1522388"/>
              <a:gd name="connsiteY7" fmla="*/ 449 h 1102064"/>
              <a:gd name="connsiteX8" fmla="*/ 582367 w 1522388"/>
              <a:gd name="connsiteY8" fmla="*/ 221221 h 1102064"/>
              <a:gd name="connsiteX9" fmla="*/ 568451 w 1522388"/>
              <a:gd name="connsiteY9" fmla="*/ 226605 h 1102064"/>
              <a:gd name="connsiteX10" fmla="*/ 340853 w 1522388"/>
              <a:gd name="connsiteY10" fmla="*/ 463531 h 1102064"/>
              <a:gd name="connsiteX11" fmla="*/ 346688 w 1522388"/>
              <a:gd name="connsiteY11" fmla="*/ 463531 h 1102064"/>
              <a:gd name="connsiteX12" fmla="*/ 597181 w 1522388"/>
              <a:gd name="connsiteY12" fmla="*/ 555520 h 1102064"/>
              <a:gd name="connsiteX13" fmla="*/ 685617 w 1522388"/>
              <a:gd name="connsiteY13" fmla="*/ 781676 h 1102064"/>
              <a:gd name="connsiteX14" fmla="*/ 597630 w 1522388"/>
              <a:gd name="connsiteY14" fmla="*/ 1007384 h 1102064"/>
              <a:gd name="connsiteX15" fmla="*/ 355667 w 1522388"/>
              <a:gd name="connsiteY15" fmla="*/ 1102064 h 1102064"/>
              <a:gd name="connsiteX16" fmla="*/ 87217 w 1522388"/>
              <a:gd name="connsiteY16" fmla="*/ 954883 h 1102064"/>
              <a:gd name="connsiteX17" fmla="*/ 332772 w 1522388"/>
              <a:gd name="connsiteY17" fmla="*/ 1075590 h 1102064"/>
              <a:gd name="connsiteX18" fmla="*/ 579225 w 1522388"/>
              <a:gd name="connsiteY18" fmla="*/ 989883 h 1102064"/>
              <a:gd name="connsiteX19" fmla="*/ 660029 w 1522388"/>
              <a:gd name="connsiteY19" fmla="*/ 781676 h 1102064"/>
              <a:gd name="connsiteX20" fmla="*/ 579225 w 1522388"/>
              <a:gd name="connsiteY20" fmla="*/ 573469 h 1102064"/>
              <a:gd name="connsiteX21" fmla="*/ 346688 w 1522388"/>
              <a:gd name="connsiteY21" fmla="*/ 488660 h 1102064"/>
              <a:gd name="connsiteX22" fmla="*/ 304940 w 1522388"/>
              <a:gd name="connsiteY22" fmla="*/ 488660 h 1102064"/>
              <a:gd name="connsiteX23" fmla="*/ 310776 w 1522388"/>
              <a:gd name="connsiteY23" fmla="*/ 471608 h 1102064"/>
              <a:gd name="connsiteX24" fmla="*/ 546005 w 1522388"/>
              <a:gd name="connsiteY24" fmla="*/ 207759 h 1102064"/>
              <a:gd name="connsiteX25" fmla="*/ 450387 w 1522388"/>
              <a:gd name="connsiteY25" fmla="*/ 34103 h 1102064"/>
              <a:gd name="connsiteX26" fmla="*/ 93053 w 1522388"/>
              <a:gd name="connsiteY26" fmla="*/ 419556 h 1102064"/>
              <a:gd name="connsiteX27" fmla="*/ 87217 w 1522388"/>
              <a:gd name="connsiteY27" fmla="*/ 954883 h 1102064"/>
              <a:gd name="connsiteX28" fmla="*/ 1190194 w 1522388"/>
              <a:gd name="connsiteY28" fmla="*/ 1101616 h 1102064"/>
              <a:gd name="connsiteX29" fmla="*/ 1166402 w 1522388"/>
              <a:gd name="connsiteY29" fmla="*/ 1100718 h 1102064"/>
              <a:gd name="connsiteX30" fmla="*/ 904237 w 1522388"/>
              <a:gd name="connsiteY30" fmla="*/ 970140 h 1102064"/>
              <a:gd name="connsiteX31" fmla="*/ 904237 w 1522388"/>
              <a:gd name="connsiteY31" fmla="*/ 970140 h 1102064"/>
              <a:gd name="connsiteX32" fmla="*/ 902441 w 1522388"/>
              <a:gd name="connsiteY32" fmla="*/ 411030 h 1102064"/>
              <a:gd name="connsiteX33" fmla="*/ 1286710 w 1522388"/>
              <a:gd name="connsiteY33" fmla="*/ 5834 h 1102064"/>
              <a:gd name="connsiteX34" fmla="*/ 1297933 w 1522388"/>
              <a:gd name="connsiteY34" fmla="*/ 0 h 1102064"/>
              <a:gd name="connsiteX35" fmla="*/ 1419588 w 1522388"/>
              <a:gd name="connsiteY35" fmla="*/ 220772 h 1102064"/>
              <a:gd name="connsiteX36" fmla="*/ 1405671 w 1522388"/>
              <a:gd name="connsiteY36" fmla="*/ 226157 h 1102064"/>
              <a:gd name="connsiteX37" fmla="*/ 1178073 w 1522388"/>
              <a:gd name="connsiteY37" fmla="*/ 463083 h 1102064"/>
              <a:gd name="connsiteX38" fmla="*/ 1183909 w 1522388"/>
              <a:gd name="connsiteY38" fmla="*/ 463083 h 1102064"/>
              <a:gd name="connsiteX39" fmla="*/ 1430362 w 1522388"/>
              <a:gd name="connsiteY39" fmla="*/ 555071 h 1102064"/>
              <a:gd name="connsiteX40" fmla="*/ 1522389 w 1522388"/>
              <a:gd name="connsiteY40" fmla="*/ 781227 h 1102064"/>
              <a:gd name="connsiteX41" fmla="*/ 1429913 w 1522388"/>
              <a:gd name="connsiteY41" fmla="*/ 1007384 h 1102064"/>
              <a:gd name="connsiteX42" fmla="*/ 1190194 w 1522388"/>
              <a:gd name="connsiteY42" fmla="*/ 1101616 h 1102064"/>
              <a:gd name="connsiteX43" fmla="*/ 923989 w 1522388"/>
              <a:gd name="connsiteY43" fmla="*/ 954883 h 1102064"/>
              <a:gd name="connsiteX44" fmla="*/ 1167748 w 1522388"/>
              <a:gd name="connsiteY44" fmla="*/ 1075590 h 1102064"/>
              <a:gd name="connsiteX45" fmla="*/ 1411956 w 1522388"/>
              <a:gd name="connsiteY45" fmla="*/ 989883 h 1102064"/>
              <a:gd name="connsiteX46" fmla="*/ 1496801 w 1522388"/>
              <a:gd name="connsiteY46" fmla="*/ 781676 h 1102064"/>
              <a:gd name="connsiteX47" fmla="*/ 1412405 w 1522388"/>
              <a:gd name="connsiteY47" fmla="*/ 573917 h 1102064"/>
              <a:gd name="connsiteX48" fmla="*/ 1411956 w 1522388"/>
              <a:gd name="connsiteY48" fmla="*/ 573469 h 1102064"/>
              <a:gd name="connsiteX49" fmla="*/ 1183909 w 1522388"/>
              <a:gd name="connsiteY49" fmla="*/ 489108 h 1102064"/>
              <a:gd name="connsiteX50" fmla="*/ 1142160 w 1522388"/>
              <a:gd name="connsiteY50" fmla="*/ 489108 h 1102064"/>
              <a:gd name="connsiteX51" fmla="*/ 1147996 w 1522388"/>
              <a:gd name="connsiteY51" fmla="*/ 472057 h 1102064"/>
              <a:gd name="connsiteX52" fmla="*/ 1383226 w 1522388"/>
              <a:gd name="connsiteY52" fmla="*/ 208208 h 1102064"/>
              <a:gd name="connsiteX53" fmla="*/ 1287608 w 1522388"/>
              <a:gd name="connsiteY53" fmla="*/ 34552 h 1102064"/>
              <a:gd name="connsiteX54" fmla="*/ 926234 w 1522388"/>
              <a:gd name="connsiteY54" fmla="*/ 420454 h 1102064"/>
              <a:gd name="connsiteX55" fmla="*/ 923989 w 1522388"/>
              <a:gd name="connsiteY55" fmla="*/ 954883 h 1102064"/>
              <a:gd name="connsiteX56" fmla="*/ 923989 w 1522388"/>
              <a:gd name="connsiteY56" fmla="*/ 954883 h 110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2388" h="1102064">
                <a:moveTo>
                  <a:pt x="355667" y="1102064"/>
                </a:moveTo>
                <a:cubicBezTo>
                  <a:pt x="347586" y="1102064"/>
                  <a:pt x="339506" y="1101616"/>
                  <a:pt x="331425" y="1101167"/>
                </a:cubicBezTo>
                <a:cubicBezTo>
                  <a:pt x="225033" y="1094885"/>
                  <a:pt x="126273" y="1045974"/>
                  <a:pt x="67016" y="970589"/>
                </a:cubicBezTo>
                <a:lnTo>
                  <a:pt x="67016" y="970589"/>
                </a:lnTo>
                <a:cubicBezTo>
                  <a:pt x="15840" y="902382"/>
                  <a:pt x="-6156" y="809946"/>
                  <a:pt x="1475" y="694624"/>
                </a:cubicBezTo>
                <a:cubicBezTo>
                  <a:pt x="7311" y="606674"/>
                  <a:pt x="31552" y="505711"/>
                  <a:pt x="69261" y="411030"/>
                </a:cubicBezTo>
                <a:cubicBezTo>
                  <a:pt x="134353" y="242311"/>
                  <a:pt x="265884" y="102309"/>
                  <a:pt x="449489" y="6282"/>
                </a:cubicBezTo>
                <a:lnTo>
                  <a:pt x="460712" y="449"/>
                </a:lnTo>
                <a:lnTo>
                  <a:pt x="582367" y="221221"/>
                </a:lnTo>
                <a:lnTo>
                  <a:pt x="568451" y="226605"/>
                </a:lnTo>
                <a:cubicBezTo>
                  <a:pt x="461610" y="266990"/>
                  <a:pt x="384846" y="346863"/>
                  <a:pt x="340853" y="463531"/>
                </a:cubicBezTo>
                <a:lnTo>
                  <a:pt x="346688" y="463531"/>
                </a:lnTo>
                <a:cubicBezTo>
                  <a:pt x="453081" y="463531"/>
                  <a:pt x="535231" y="493596"/>
                  <a:pt x="597181" y="555520"/>
                </a:cubicBezTo>
                <a:cubicBezTo>
                  <a:pt x="655540" y="613854"/>
                  <a:pt x="685617" y="690137"/>
                  <a:pt x="685617" y="781676"/>
                </a:cubicBezTo>
                <a:cubicBezTo>
                  <a:pt x="685617" y="869177"/>
                  <a:pt x="655989" y="945011"/>
                  <a:pt x="597630" y="1007384"/>
                </a:cubicBezTo>
                <a:cubicBezTo>
                  <a:pt x="537027" y="1068410"/>
                  <a:pt x="449938" y="1102064"/>
                  <a:pt x="355667" y="1102064"/>
                </a:cubicBezTo>
                <a:close/>
                <a:moveTo>
                  <a:pt x="87217" y="954883"/>
                </a:moveTo>
                <a:cubicBezTo>
                  <a:pt x="141985" y="1024435"/>
                  <a:pt x="233563" y="1069756"/>
                  <a:pt x="332772" y="1075590"/>
                </a:cubicBezTo>
                <a:cubicBezTo>
                  <a:pt x="428839" y="1081423"/>
                  <a:pt x="518622" y="1050013"/>
                  <a:pt x="579225" y="989883"/>
                </a:cubicBezTo>
                <a:cubicBezTo>
                  <a:pt x="632645" y="932447"/>
                  <a:pt x="660029" y="862446"/>
                  <a:pt x="660029" y="781676"/>
                </a:cubicBezTo>
                <a:cubicBezTo>
                  <a:pt x="660029" y="697316"/>
                  <a:pt x="632645" y="626867"/>
                  <a:pt x="579225" y="573469"/>
                </a:cubicBezTo>
                <a:cubicBezTo>
                  <a:pt x="522213" y="516480"/>
                  <a:pt x="446347" y="488660"/>
                  <a:pt x="346688" y="488660"/>
                </a:cubicBezTo>
                <a:lnTo>
                  <a:pt x="304940" y="488660"/>
                </a:lnTo>
                <a:lnTo>
                  <a:pt x="310776" y="471608"/>
                </a:lnTo>
                <a:cubicBezTo>
                  <a:pt x="354769" y="343273"/>
                  <a:pt x="434226" y="254875"/>
                  <a:pt x="546005" y="207759"/>
                </a:cubicBezTo>
                <a:lnTo>
                  <a:pt x="450387" y="34103"/>
                </a:lnTo>
                <a:cubicBezTo>
                  <a:pt x="278005" y="126989"/>
                  <a:pt x="155003" y="260260"/>
                  <a:pt x="93053" y="419556"/>
                </a:cubicBezTo>
                <a:cubicBezTo>
                  <a:pt x="24819" y="591418"/>
                  <a:pt x="-12890" y="821612"/>
                  <a:pt x="87217" y="954883"/>
                </a:cubicBezTo>
                <a:close/>
                <a:moveTo>
                  <a:pt x="1190194" y="1101616"/>
                </a:moveTo>
                <a:cubicBezTo>
                  <a:pt x="1182562" y="1101616"/>
                  <a:pt x="1174482" y="1101167"/>
                  <a:pt x="1166402" y="1100718"/>
                </a:cubicBezTo>
                <a:cubicBezTo>
                  <a:pt x="1061356" y="1094436"/>
                  <a:pt x="963044" y="1045525"/>
                  <a:pt x="904237" y="970140"/>
                </a:cubicBezTo>
                <a:lnTo>
                  <a:pt x="904237" y="970140"/>
                </a:lnTo>
                <a:cubicBezTo>
                  <a:pt x="775399" y="804561"/>
                  <a:pt x="859795" y="523660"/>
                  <a:pt x="902441" y="411030"/>
                </a:cubicBezTo>
                <a:cubicBezTo>
                  <a:pt x="972023" y="241413"/>
                  <a:pt x="1104901" y="101411"/>
                  <a:pt x="1286710" y="5834"/>
                </a:cubicBezTo>
                <a:lnTo>
                  <a:pt x="1297933" y="0"/>
                </a:lnTo>
                <a:lnTo>
                  <a:pt x="1419588" y="220772"/>
                </a:lnTo>
                <a:lnTo>
                  <a:pt x="1405671" y="226157"/>
                </a:lnTo>
                <a:cubicBezTo>
                  <a:pt x="1298831" y="266542"/>
                  <a:pt x="1222067" y="346415"/>
                  <a:pt x="1178073" y="463083"/>
                </a:cubicBezTo>
                <a:lnTo>
                  <a:pt x="1183909" y="463083"/>
                </a:lnTo>
                <a:cubicBezTo>
                  <a:pt x="1290301" y="463083"/>
                  <a:pt x="1372901" y="494044"/>
                  <a:pt x="1430362" y="555071"/>
                </a:cubicBezTo>
                <a:cubicBezTo>
                  <a:pt x="1492311" y="612956"/>
                  <a:pt x="1522389" y="686995"/>
                  <a:pt x="1522389" y="781227"/>
                </a:cubicBezTo>
                <a:cubicBezTo>
                  <a:pt x="1522389" y="870075"/>
                  <a:pt x="1491414" y="946358"/>
                  <a:pt x="1429913" y="1007384"/>
                </a:cubicBezTo>
                <a:cubicBezTo>
                  <a:pt x="1369759" y="1068410"/>
                  <a:pt x="1283119" y="1101616"/>
                  <a:pt x="1190194" y="1101616"/>
                </a:cubicBezTo>
                <a:close/>
                <a:moveTo>
                  <a:pt x="923989" y="954883"/>
                </a:moveTo>
                <a:cubicBezTo>
                  <a:pt x="978756" y="1024435"/>
                  <a:pt x="1069885" y="1069756"/>
                  <a:pt x="1167748" y="1075590"/>
                </a:cubicBezTo>
                <a:cubicBezTo>
                  <a:pt x="1262469" y="1081423"/>
                  <a:pt x="1351802" y="1050013"/>
                  <a:pt x="1411956" y="989883"/>
                </a:cubicBezTo>
                <a:cubicBezTo>
                  <a:pt x="1468968" y="932896"/>
                  <a:pt x="1496801" y="864690"/>
                  <a:pt x="1496801" y="781676"/>
                </a:cubicBezTo>
                <a:cubicBezTo>
                  <a:pt x="1496801" y="694624"/>
                  <a:pt x="1468968" y="626867"/>
                  <a:pt x="1412405" y="573917"/>
                </a:cubicBezTo>
                <a:lnTo>
                  <a:pt x="1411956" y="573469"/>
                </a:lnTo>
                <a:cubicBezTo>
                  <a:pt x="1359434" y="517378"/>
                  <a:pt x="1282670" y="489108"/>
                  <a:pt x="1183909" y="489108"/>
                </a:cubicBezTo>
                <a:lnTo>
                  <a:pt x="1142160" y="489108"/>
                </a:lnTo>
                <a:lnTo>
                  <a:pt x="1147996" y="472057"/>
                </a:lnTo>
                <a:cubicBezTo>
                  <a:pt x="1191989" y="343722"/>
                  <a:pt x="1271447" y="255324"/>
                  <a:pt x="1383226" y="208208"/>
                </a:cubicBezTo>
                <a:lnTo>
                  <a:pt x="1287608" y="34552"/>
                </a:lnTo>
                <a:cubicBezTo>
                  <a:pt x="1116572" y="126989"/>
                  <a:pt x="991775" y="259811"/>
                  <a:pt x="926234" y="420454"/>
                </a:cubicBezTo>
                <a:cubicBezTo>
                  <a:pt x="885383" y="529045"/>
                  <a:pt x="803232" y="799176"/>
                  <a:pt x="923989" y="954883"/>
                </a:cubicBezTo>
                <a:lnTo>
                  <a:pt x="923989" y="954883"/>
                </a:lnTo>
                <a:close/>
              </a:path>
            </a:pathLst>
          </a:custGeom>
          <a:solidFill>
            <a:srgbClr val="E14726"/>
          </a:solidFill>
          <a:ln w="4485" cap="flat">
            <a:solidFill>
              <a:srgbClr val="E14726"/>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 name="Text Placeholder 32">
            <a:extLst>
              <a:ext uri="{FF2B5EF4-FFF2-40B4-BE49-F238E27FC236}">
                <a16:creationId xmlns:a16="http://schemas.microsoft.com/office/drawing/2014/main" id="{FC9B4993-239F-E263-79AF-548DCF2E4858}"/>
              </a:ext>
            </a:extLst>
          </p:cNvPr>
          <p:cNvSpPr>
            <a:spLocks noGrp="1"/>
          </p:cNvSpPr>
          <p:nvPr>
            <p:ph type="body" sz="quarter" idx="52" hasCustomPrompt="1"/>
          </p:nvPr>
        </p:nvSpPr>
        <p:spPr>
          <a:xfrm>
            <a:off x="2079557" y="2329011"/>
            <a:ext cx="4816246" cy="238796"/>
          </a:xfrm>
          <a:prstGeom prst="rect">
            <a:avLst/>
          </a:prstGeom>
        </p:spPr>
        <p:txBody>
          <a:bodyPr numCol="1" spcCol="288000" anchor="t">
            <a:noAutofit/>
          </a:bodyPr>
          <a:lstStyle>
            <a:lvl1pPr marL="0" indent="0" algn="ctr">
              <a:lnSpc>
                <a:spcPct val="100000"/>
              </a:lnSpc>
              <a:spcBef>
                <a:spcPts val="0"/>
              </a:spcBef>
              <a:buNone/>
              <a:defRPr sz="11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 Company</a:t>
            </a:r>
            <a:endParaRPr lang="en-US" dirty="0"/>
          </a:p>
        </p:txBody>
      </p:sp>
      <p:sp>
        <p:nvSpPr>
          <p:cNvPr id="4" name="Text Placeholder 23">
            <a:extLst>
              <a:ext uri="{FF2B5EF4-FFF2-40B4-BE49-F238E27FC236}">
                <a16:creationId xmlns:a16="http://schemas.microsoft.com/office/drawing/2014/main" id="{C4D043C1-F67E-2CF5-54BF-34643A03F7D1}"/>
              </a:ext>
            </a:extLst>
          </p:cNvPr>
          <p:cNvSpPr>
            <a:spLocks noGrp="1"/>
          </p:cNvSpPr>
          <p:nvPr>
            <p:ph type="body" sz="quarter" idx="13" hasCustomPrompt="1"/>
          </p:nvPr>
        </p:nvSpPr>
        <p:spPr>
          <a:xfrm>
            <a:off x="2116905" y="197514"/>
            <a:ext cx="4700130" cy="1848158"/>
          </a:xfrm>
          <a:prstGeom prst="rect">
            <a:avLst/>
          </a:prstGeom>
        </p:spPr>
        <p:txBody>
          <a:bodyPr anchor="ctr">
            <a:normAutofit/>
          </a:bodyPr>
          <a:lstStyle>
            <a:lvl1pPr marL="0" indent="0" algn="ctr">
              <a:lnSpc>
                <a:spcPts val="2060"/>
              </a:lnSpc>
              <a:spcBef>
                <a:spcPts val="0"/>
              </a:spcBef>
              <a:buNone/>
              <a:defRPr sz="1800" b="0" i="0" baseline="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US" dirty="0"/>
              <a:t>Quote</a:t>
            </a:r>
          </a:p>
        </p:txBody>
      </p:sp>
      <p:sp>
        <p:nvSpPr>
          <p:cNvPr id="12" name="Slide Number Placeholder 5">
            <a:extLst>
              <a:ext uri="{FF2B5EF4-FFF2-40B4-BE49-F238E27FC236}">
                <a16:creationId xmlns:a16="http://schemas.microsoft.com/office/drawing/2014/main" id="{4ACB4AD8-CB08-1442-54F8-0633CC3DF687}"/>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3948815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3F98B437-661A-CF48-AFB1-073A347AD116}"/>
              </a:ext>
            </a:extLst>
          </p:cNvPr>
          <p:cNvSpPr/>
          <p:nvPr userDrawn="1"/>
        </p:nvSpPr>
        <p:spPr>
          <a:xfrm>
            <a:off x="0" y="1213658"/>
            <a:ext cx="7559675" cy="4869991"/>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41" name="Text Placeholder 32">
            <a:extLst>
              <a:ext uri="{FF2B5EF4-FFF2-40B4-BE49-F238E27FC236}">
                <a16:creationId xmlns:a16="http://schemas.microsoft.com/office/drawing/2014/main" id="{D37EB16C-F26A-5148-9329-CE588D03DB78}"/>
              </a:ext>
            </a:extLst>
          </p:cNvPr>
          <p:cNvSpPr>
            <a:spLocks noGrp="1"/>
          </p:cNvSpPr>
          <p:nvPr>
            <p:ph type="body" sz="quarter" idx="32" hasCustomPrompt="1"/>
          </p:nvPr>
        </p:nvSpPr>
        <p:spPr>
          <a:xfrm>
            <a:off x="559612" y="2049131"/>
            <a:ext cx="6526988" cy="3729370"/>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49" name="Text Placeholder 32">
            <a:extLst>
              <a:ext uri="{FF2B5EF4-FFF2-40B4-BE49-F238E27FC236}">
                <a16:creationId xmlns:a16="http://schemas.microsoft.com/office/drawing/2014/main" id="{93C536F3-CA11-BB49-B12C-64B2C03FD7CC}"/>
              </a:ext>
            </a:extLst>
          </p:cNvPr>
          <p:cNvSpPr>
            <a:spLocks noGrp="1"/>
          </p:cNvSpPr>
          <p:nvPr>
            <p:ph type="body" sz="quarter" idx="33" hasCustomPrompt="1"/>
          </p:nvPr>
        </p:nvSpPr>
        <p:spPr>
          <a:xfrm>
            <a:off x="559612" y="6718314"/>
            <a:ext cx="2696198" cy="1992304"/>
          </a:xfrm>
          <a:prstGeom prst="rect">
            <a:avLst/>
          </a:prstGeom>
        </p:spPr>
        <p:txBody>
          <a:bodyPr>
            <a:noAutofit/>
          </a:bodyPr>
          <a:lstStyle>
            <a:lvl1pPr marL="0" indent="0" algn="l">
              <a:buNone/>
              <a:defRPr sz="2200" b="0" i="0">
                <a:solidFill>
                  <a:srgbClr val="E14726"/>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50" name="Text Placeholder 32">
            <a:extLst>
              <a:ext uri="{FF2B5EF4-FFF2-40B4-BE49-F238E27FC236}">
                <a16:creationId xmlns:a16="http://schemas.microsoft.com/office/drawing/2014/main" id="{CDA9507A-5FC8-294C-A801-C924C61B745E}"/>
              </a:ext>
            </a:extLst>
          </p:cNvPr>
          <p:cNvSpPr>
            <a:spLocks noGrp="1"/>
          </p:cNvSpPr>
          <p:nvPr>
            <p:ph type="body" sz="quarter" idx="34" hasCustomPrompt="1"/>
          </p:nvPr>
        </p:nvSpPr>
        <p:spPr>
          <a:xfrm>
            <a:off x="3446037" y="6718314"/>
            <a:ext cx="3563248" cy="1992304"/>
          </a:xfrm>
          <a:prstGeom prst="rect">
            <a:avLst/>
          </a:prstGeom>
        </p:spPr>
        <p:txBody>
          <a:bodyPr>
            <a:noAutofit/>
          </a:bodyPr>
          <a:lstStyle>
            <a:lvl1pPr marL="0" indent="0" algn="l">
              <a:buNone/>
              <a:defRPr sz="1600" b="0" i="1">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32" name="Freeform 31">
            <a:extLst>
              <a:ext uri="{FF2B5EF4-FFF2-40B4-BE49-F238E27FC236}">
                <a16:creationId xmlns:a16="http://schemas.microsoft.com/office/drawing/2014/main" id="{A3029D7B-8197-AD41-BDB1-7A885960CF3C}"/>
              </a:ext>
            </a:extLst>
          </p:cNvPr>
          <p:cNvSpPr/>
          <p:nvPr userDrawn="1"/>
        </p:nvSpPr>
        <p:spPr>
          <a:xfrm rot="10800000">
            <a:off x="2299180" y="5404204"/>
            <a:ext cx="5260495" cy="38830"/>
          </a:xfrm>
          <a:custGeom>
            <a:avLst/>
            <a:gdLst>
              <a:gd name="connsiteX0" fmla="*/ 5260495 w 5260495"/>
              <a:gd name="connsiteY0" fmla="*/ 38830 h 38830"/>
              <a:gd name="connsiteX1" fmla="*/ 0 w 5260495"/>
              <a:gd name="connsiteY1" fmla="*/ 38830 h 38830"/>
              <a:gd name="connsiteX2" fmla="*/ 0 w 5260495"/>
              <a:gd name="connsiteY2" fmla="*/ 0 h 38830"/>
              <a:gd name="connsiteX3" fmla="*/ 5260495 w 5260495"/>
              <a:gd name="connsiteY3" fmla="*/ 0 h 38830"/>
              <a:gd name="connsiteX4" fmla="*/ 5260495 w 5260495"/>
              <a:gd name="connsiteY4" fmla="*/ 38830 h 38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495" h="38830">
                <a:moveTo>
                  <a:pt x="5260495" y="38830"/>
                </a:moveTo>
                <a:lnTo>
                  <a:pt x="0" y="38830"/>
                </a:lnTo>
                <a:lnTo>
                  <a:pt x="0" y="0"/>
                </a:lnTo>
                <a:lnTo>
                  <a:pt x="5260495" y="0"/>
                </a:lnTo>
                <a:lnTo>
                  <a:pt x="5260495" y="38830"/>
                </a:lnTo>
                <a:close/>
              </a:path>
            </a:pathLst>
          </a:custGeom>
          <a:solidFill>
            <a:srgbClr val="E14726"/>
          </a:solidFill>
          <a:ln w="7702"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3" name="Freeform 32">
            <a:extLst>
              <a:ext uri="{FF2B5EF4-FFF2-40B4-BE49-F238E27FC236}">
                <a16:creationId xmlns:a16="http://schemas.microsoft.com/office/drawing/2014/main" id="{EE9FA0DD-9E72-8040-B57C-5DEB3A06C91B}"/>
              </a:ext>
            </a:extLst>
          </p:cNvPr>
          <p:cNvSpPr/>
          <p:nvPr userDrawn="1"/>
        </p:nvSpPr>
        <p:spPr>
          <a:xfrm>
            <a:off x="0" y="915871"/>
            <a:ext cx="5834994" cy="715523"/>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E147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6" name="Text Placeholder 32">
            <a:extLst>
              <a:ext uri="{FF2B5EF4-FFF2-40B4-BE49-F238E27FC236}">
                <a16:creationId xmlns:a16="http://schemas.microsoft.com/office/drawing/2014/main" id="{AC368E38-E328-E144-BE87-9FB9A21078A9}"/>
              </a:ext>
            </a:extLst>
          </p:cNvPr>
          <p:cNvSpPr>
            <a:spLocks noGrp="1"/>
          </p:cNvSpPr>
          <p:nvPr>
            <p:ph type="body" sz="quarter" idx="30" hasCustomPrompt="1"/>
          </p:nvPr>
        </p:nvSpPr>
        <p:spPr>
          <a:xfrm>
            <a:off x="494393" y="1114702"/>
            <a:ext cx="6570888" cy="785535"/>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2" name="Slide Number Placeholder 5">
            <a:extLst>
              <a:ext uri="{FF2B5EF4-FFF2-40B4-BE49-F238E27FC236}">
                <a16:creationId xmlns:a16="http://schemas.microsoft.com/office/drawing/2014/main" id="{9E9461B8-E299-EA55-9B3A-BCC13A7FF848}"/>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2652959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text slide 3">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C239460C-FB90-8646-BDD0-77E3A1EDD328}"/>
              </a:ext>
            </a:extLst>
          </p:cNvPr>
          <p:cNvSpPr/>
          <p:nvPr userDrawn="1"/>
        </p:nvSpPr>
        <p:spPr>
          <a:xfrm>
            <a:off x="-1" y="2594796"/>
            <a:ext cx="7575077" cy="6773792"/>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0E72B5"/>
          </a:solidFill>
          <a:ln w="3598" cap="flat">
            <a:noFill/>
            <a:prstDash val="solid"/>
            <a:miter/>
          </a:ln>
        </p:spPr>
        <p:txBody>
          <a:bodyPr rtlCol="0" anchor="ctr"/>
          <a:lstStyle/>
          <a:p>
            <a:endParaRPr lang="en-US" b="0" i="0" dirty="0">
              <a:latin typeface="Calibri" panose="020F0502020204030204" pitchFamily="34" charset="0"/>
            </a:endParaRPr>
          </a:p>
        </p:txBody>
      </p:sp>
      <p:sp>
        <p:nvSpPr>
          <p:cNvPr id="56" name="Text Placeholder 32">
            <a:extLst>
              <a:ext uri="{FF2B5EF4-FFF2-40B4-BE49-F238E27FC236}">
                <a16:creationId xmlns:a16="http://schemas.microsoft.com/office/drawing/2014/main" id="{16460BBF-F12D-E04F-AE40-99CCA2BD203E}"/>
              </a:ext>
            </a:extLst>
          </p:cNvPr>
          <p:cNvSpPr>
            <a:spLocks noGrp="1"/>
          </p:cNvSpPr>
          <p:nvPr>
            <p:ph type="body" sz="quarter" idx="30" hasCustomPrompt="1"/>
          </p:nvPr>
        </p:nvSpPr>
        <p:spPr>
          <a:xfrm>
            <a:off x="765328" y="627587"/>
            <a:ext cx="3014509" cy="662358"/>
          </a:xfrm>
          <a:prstGeom prst="rect">
            <a:avLst/>
          </a:prstGeom>
        </p:spPr>
        <p:txBody>
          <a:bodyPr>
            <a:noAutofit/>
          </a:bodyPr>
          <a:lstStyle>
            <a:lvl1pPr marL="0" indent="0" algn="l">
              <a:buNone/>
              <a:defRPr sz="2200" b="1" i="0">
                <a:solidFill>
                  <a:srgbClr val="E14726"/>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57" name="Text Placeholder 32">
            <a:extLst>
              <a:ext uri="{FF2B5EF4-FFF2-40B4-BE49-F238E27FC236}">
                <a16:creationId xmlns:a16="http://schemas.microsoft.com/office/drawing/2014/main" id="{55F47CC5-18AC-2A4F-BA84-8406111885B3}"/>
              </a:ext>
            </a:extLst>
          </p:cNvPr>
          <p:cNvSpPr>
            <a:spLocks noGrp="1"/>
          </p:cNvSpPr>
          <p:nvPr>
            <p:ph type="body" sz="quarter" idx="33" hasCustomPrompt="1"/>
          </p:nvPr>
        </p:nvSpPr>
        <p:spPr>
          <a:xfrm>
            <a:off x="765328" y="1289945"/>
            <a:ext cx="3014509" cy="1234447"/>
          </a:xfrm>
          <a:prstGeom prst="rect">
            <a:avLst/>
          </a:prstGeom>
        </p:spPr>
        <p:txBody>
          <a:bodyPr>
            <a:noAutofit/>
          </a:bodyPr>
          <a:lstStyle>
            <a:lvl1pPr marL="0" indent="0" algn="l">
              <a:buNone/>
              <a:defRPr sz="1600" b="0" i="1">
                <a:solidFill>
                  <a:srgbClr val="083F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32" name="Freeform 31">
            <a:extLst>
              <a:ext uri="{FF2B5EF4-FFF2-40B4-BE49-F238E27FC236}">
                <a16:creationId xmlns:a16="http://schemas.microsoft.com/office/drawing/2014/main" id="{D94DACDD-727F-0C4D-A2E1-CEDBD53C62AD}"/>
              </a:ext>
            </a:extLst>
          </p:cNvPr>
          <p:cNvSpPr/>
          <p:nvPr userDrawn="1"/>
        </p:nvSpPr>
        <p:spPr>
          <a:xfrm rot="10800000" flipV="1">
            <a:off x="0" y="3013335"/>
            <a:ext cx="3240000" cy="34557"/>
          </a:xfrm>
          <a:custGeom>
            <a:avLst/>
            <a:gdLst>
              <a:gd name="connsiteX0" fmla="*/ 2635910 w 2635910"/>
              <a:gd name="connsiteY0" fmla="*/ 0 h 34557"/>
              <a:gd name="connsiteX1" fmla="*/ 0 w 2635910"/>
              <a:gd name="connsiteY1" fmla="*/ 0 h 34557"/>
              <a:gd name="connsiteX2" fmla="*/ 0 w 2635910"/>
              <a:gd name="connsiteY2" fmla="*/ 34557 h 34557"/>
              <a:gd name="connsiteX3" fmla="*/ 2635910 w 2635910"/>
              <a:gd name="connsiteY3" fmla="*/ 34557 h 34557"/>
              <a:gd name="connsiteX4" fmla="*/ 2635910 w 2635910"/>
              <a:gd name="connsiteY4" fmla="*/ 0 h 34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910" h="34557">
                <a:moveTo>
                  <a:pt x="2635910" y="0"/>
                </a:moveTo>
                <a:lnTo>
                  <a:pt x="0" y="0"/>
                </a:lnTo>
                <a:lnTo>
                  <a:pt x="0" y="34557"/>
                </a:lnTo>
                <a:lnTo>
                  <a:pt x="2635910" y="34557"/>
                </a:lnTo>
                <a:lnTo>
                  <a:pt x="2635910" y="0"/>
                </a:lnTo>
                <a:close/>
              </a:path>
            </a:pathLst>
          </a:custGeom>
          <a:solidFill>
            <a:srgbClr val="E14726"/>
          </a:solidFill>
          <a:ln w="7702" cap="flat">
            <a:noFill/>
            <a:prstDash val="solid"/>
            <a:miter/>
          </a:ln>
        </p:spPr>
        <p:txBody>
          <a:bodyPr wrap="square" rtlCol="0" anchor="ctr">
            <a:noAutofit/>
          </a:bodyPr>
          <a:lstStyle/>
          <a:p>
            <a:endParaRPr lang="en-US" b="0" i="0" dirty="0">
              <a:solidFill>
                <a:srgbClr val="E14726"/>
              </a:solidFill>
              <a:latin typeface="Calibri" panose="020F0502020204030204" pitchFamily="34" charset="0"/>
            </a:endParaRPr>
          </a:p>
        </p:txBody>
      </p:sp>
      <p:sp>
        <p:nvSpPr>
          <p:cNvPr id="11" name="Picture Placeholder 10">
            <a:extLst>
              <a:ext uri="{FF2B5EF4-FFF2-40B4-BE49-F238E27FC236}">
                <a16:creationId xmlns:a16="http://schemas.microsoft.com/office/drawing/2014/main" id="{04A0BDF8-1B3F-9C44-8BE6-CC3BAD2DC9F2}"/>
              </a:ext>
            </a:extLst>
          </p:cNvPr>
          <p:cNvSpPr>
            <a:spLocks noGrp="1"/>
          </p:cNvSpPr>
          <p:nvPr>
            <p:ph type="pic" sz="quarter" idx="44"/>
          </p:nvPr>
        </p:nvSpPr>
        <p:spPr>
          <a:xfrm>
            <a:off x="3977692" y="522985"/>
            <a:ext cx="3064955" cy="2751872"/>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12" name="Text Placeholder 32">
            <a:extLst>
              <a:ext uri="{FF2B5EF4-FFF2-40B4-BE49-F238E27FC236}">
                <a16:creationId xmlns:a16="http://schemas.microsoft.com/office/drawing/2014/main" id="{9023B038-B441-DD49-9460-EE70FFED032C}"/>
              </a:ext>
            </a:extLst>
          </p:cNvPr>
          <p:cNvSpPr>
            <a:spLocks noGrp="1"/>
          </p:cNvSpPr>
          <p:nvPr>
            <p:ph type="body" sz="quarter" idx="32" hasCustomPrompt="1"/>
          </p:nvPr>
        </p:nvSpPr>
        <p:spPr>
          <a:xfrm>
            <a:off x="752315" y="3760791"/>
            <a:ext cx="6143488" cy="4767399"/>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68" name="Slide Number Placeholder 5">
            <a:extLst>
              <a:ext uri="{FF2B5EF4-FFF2-40B4-BE49-F238E27FC236}">
                <a16:creationId xmlns:a16="http://schemas.microsoft.com/office/drawing/2014/main" id="{8FF9DA41-B056-ED47-D484-4BF0FBE23144}"/>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29974318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8174CAB-652E-184A-CA20-6861437FC0CC}"/>
              </a:ext>
            </a:extLst>
          </p:cNvPr>
          <p:cNvGraphicFramePr>
            <a:graphicFrameLocks noChangeAspect="1"/>
          </p:cNvGraphicFramePr>
          <p:nvPr userDrawn="1">
            <p:custDataLst>
              <p:tags r:id="rId14"/>
            </p:custDataLst>
            <p:extLst>
              <p:ext uri="{D42A27DB-BD31-4B8C-83A1-F6EECF244321}">
                <p14:modId xmlns:p14="http://schemas.microsoft.com/office/powerpoint/2010/main" val="215313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38" imgH="540" progId="TCLayout.ActiveDocument.1">
                  <p:embed/>
                </p:oleObj>
              </mc:Choice>
              <mc:Fallback>
                <p:oleObj name="think-cell Folie" r:id="rId15" imgW="538" imgH="54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ED0F5440-A073-3DB9-B3D2-7C32A0F61113}"/>
              </a:ext>
            </a:extLst>
          </p:cNvPr>
          <p:cNvSpPr>
            <a:spLocks noGrp="1"/>
          </p:cNvSpPr>
          <p:nvPr>
            <p:ph type="sldNum" sz="quarter" idx="4"/>
          </p:nvPr>
        </p:nvSpPr>
        <p:spPr>
          <a:xfrm>
            <a:off x="6115496" y="10043245"/>
            <a:ext cx="988834" cy="465822"/>
          </a:xfrm>
          <a:prstGeom prst="rect">
            <a:avLst/>
          </a:prstGeom>
        </p:spPr>
        <p:txBody>
          <a:bodyPr vert="horz" lIns="91440" tIns="45720" rIns="91440" bIns="45720" rtlCol="0" anchor="ctr"/>
          <a:lstStyle>
            <a:lvl1pPr algn="r">
              <a:defRPr sz="800" b="0" i="0">
                <a:solidFill>
                  <a:srgbClr val="252324"/>
                </a:solidFill>
                <a:latin typeface="Calibri" panose="020F0502020204030204" pitchFamily="34" charset="0"/>
                <a:ea typeface="Open Sans" panose="020B0606030504020204" pitchFamily="34" charset="0"/>
                <a:cs typeface="Calibri" panose="020F0502020204030204" pitchFamily="34" charset="0"/>
              </a:defRPr>
            </a:lvl1pPr>
          </a:lstStyle>
          <a:p>
            <a:fld id="{CB2079F2-58AF-ED44-82D7-E04B2F6FD686}" type="slidenum">
              <a:rPr lang="en-US" smtClean="0"/>
              <a:pPr/>
              <a:t>‹Nr.›</a:t>
            </a:fld>
            <a:endParaRPr lang="en-US" dirty="0"/>
          </a:p>
        </p:txBody>
      </p:sp>
      <p:sp>
        <p:nvSpPr>
          <p:cNvPr id="3" name="Text Box 5">
            <a:extLst>
              <a:ext uri="{FF2B5EF4-FFF2-40B4-BE49-F238E27FC236}">
                <a16:creationId xmlns:a16="http://schemas.microsoft.com/office/drawing/2014/main" id="{FFA1EDAB-AE44-062E-46C2-66319EDE2C0E}"/>
              </a:ext>
            </a:extLst>
          </p:cNvPr>
          <p:cNvSpPr txBox="1"/>
          <p:nvPr userDrawn="1"/>
        </p:nvSpPr>
        <p:spPr>
          <a:xfrm>
            <a:off x="412833" y="10214693"/>
            <a:ext cx="4019247" cy="369541"/>
          </a:xfrm>
          <a:prstGeom prst="rect">
            <a:avLst/>
          </a:prstGeom>
          <a:noFill/>
          <a:ln>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b="0" i="0" spc="300" dirty="0">
                <a:solidFill>
                  <a:srgbClr val="083F59"/>
                </a:solidFill>
                <a:effectLst/>
                <a:latin typeface="Calibri" panose="020F0502020204030204" pitchFamily="34" charset="0"/>
                <a:ea typeface="Open Sans" panose="020B0606030504020204" pitchFamily="34" charset="0"/>
                <a:cs typeface="Calibri" panose="020F0502020204030204" pitchFamily="34" charset="0"/>
              </a:rPr>
              <a:t>DIVERSITIES ARE REVIVING ENTERPRISE</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IE" sz="700" b="0" i="0" spc="300" dirty="0">
              <a:solidFill>
                <a:srgbClr val="252324"/>
              </a:solidFill>
              <a:effectLst/>
              <a:latin typeface="Calibri" panose="020F0502020204030204" pitchFamily="34" charset="0"/>
              <a:ea typeface="Open Sans" panose="020B0606030504020204" pitchFamily="34" charset="0"/>
              <a:cs typeface="Calibri" panose="020F0502020204030204" pitchFamily="34" charset="0"/>
            </a:endParaRPr>
          </a:p>
        </p:txBody>
      </p:sp>
      <p:grpSp>
        <p:nvGrpSpPr>
          <p:cNvPr id="4" name="Graphic 5">
            <a:extLst>
              <a:ext uri="{FF2B5EF4-FFF2-40B4-BE49-F238E27FC236}">
                <a16:creationId xmlns:a16="http://schemas.microsoft.com/office/drawing/2014/main" id="{0F4EAAE3-7B5E-1930-16CA-5B42DD26D83B}"/>
              </a:ext>
            </a:extLst>
          </p:cNvPr>
          <p:cNvGrpSpPr/>
          <p:nvPr userDrawn="1"/>
        </p:nvGrpSpPr>
        <p:grpSpPr>
          <a:xfrm rot="20121967" flipH="1">
            <a:off x="252221" y="10160164"/>
            <a:ext cx="261668" cy="227012"/>
            <a:chOff x="3962604" y="4534014"/>
            <a:chExt cx="1470421" cy="1301140"/>
          </a:xfrm>
        </p:grpSpPr>
        <p:sp>
          <p:nvSpPr>
            <p:cNvPr id="5" name="Freeform 4">
              <a:extLst>
                <a:ext uri="{FF2B5EF4-FFF2-40B4-BE49-F238E27FC236}">
                  <a16:creationId xmlns:a16="http://schemas.microsoft.com/office/drawing/2014/main" id="{2B7DF1B3-5C2B-4821-378A-077816648B96}"/>
                </a:ext>
              </a:extLst>
            </p:cNvPr>
            <p:cNvSpPr/>
            <p:nvPr/>
          </p:nvSpPr>
          <p:spPr>
            <a:xfrm>
              <a:off x="4185164" y="4534014"/>
              <a:ext cx="1247861" cy="685109"/>
            </a:xfrm>
            <a:custGeom>
              <a:avLst/>
              <a:gdLst>
                <a:gd name="connsiteX0" fmla="*/ 395663 w 1247861"/>
                <a:gd name="connsiteY0" fmla="*/ 474062 h 685109"/>
                <a:gd name="connsiteX1" fmla="*/ 400419 w 1247861"/>
                <a:gd name="connsiteY1" fmla="*/ 244001 h 685109"/>
                <a:gd name="connsiteX2" fmla="*/ 925434 w 1247861"/>
                <a:gd name="connsiteY2" fmla="*/ 545362 h 685109"/>
                <a:gd name="connsiteX3" fmla="*/ 1038616 w 1247861"/>
                <a:gd name="connsiteY3" fmla="*/ 685110 h 685109"/>
                <a:gd name="connsiteX4" fmla="*/ 1247861 w 1247861"/>
                <a:gd name="connsiteY4" fmla="*/ 611909 h 685109"/>
                <a:gd name="connsiteX5" fmla="*/ 710482 w 1247861"/>
                <a:gd name="connsiteY5" fmla="*/ 130872 h 685109"/>
                <a:gd name="connsiteX6" fmla="*/ 0 w 1247861"/>
                <a:gd name="connsiteY6" fmla="*/ 8237 h 685109"/>
                <a:gd name="connsiteX7" fmla="*/ 148374 w 1247861"/>
                <a:gd name="connsiteY7" fmla="*/ 436036 h 685109"/>
                <a:gd name="connsiteX8" fmla="*/ 395663 w 1247861"/>
                <a:gd name="connsiteY8" fmla="*/ 474062 h 685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7861" h="685109">
                  <a:moveTo>
                    <a:pt x="395663" y="474062"/>
                  </a:moveTo>
                  <a:lnTo>
                    <a:pt x="400419" y="244001"/>
                  </a:lnTo>
                  <a:cubicBezTo>
                    <a:pt x="599202" y="291535"/>
                    <a:pt x="780864" y="394207"/>
                    <a:pt x="925434" y="545362"/>
                  </a:cubicBezTo>
                  <a:cubicBezTo>
                    <a:pt x="967283" y="589093"/>
                    <a:pt x="1005327" y="635675"/>
                    <a:pt x="1038616" y="685110"/>
                  </a:cubicBezTo>
                  <a:lnTo>
                    <a:pt x="1247861" y="611909"/>
                  </a:lnTo>
                  <a:cubicBezTo>
                    <a:pt x="1119461" y="405614"/>
                    <a:pt x="934945" y="239248"/>
                    <a:pt x="710482" y="130872"/>
                  </a:cubicBezTo>
                  <a:cubicBezTo>
                    <a:pt x="486019" y="22497"/>
                    <a:pt x="241583" y="-19333"/>
                    <a:pt x="0" y="8237"/>
                  </a:cubicBezTo>
                  <a:lnTo>
                    <a:pt x="148374" y="436036"/>
                  </a:lnTo>
                  <a:cubicBezTo>
                    <a:pt x="233974" y="436986"/>
                    <a:pt x="316721" y="450296"/>
                    <a:pt x="395663" y="474062"/>
                  </a:cubicBezTo>
                  <a:close/>
                </a:path>
              </a:pathLst>
            </a:custGeom>
            <a:solidFill>
              <a:srgbClr val="702E8C"/>
            </a:solidFill>
            <a:ln w="9504"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2F04487-34E8-0A63-1DE7-5AF48B21E4B3}"/>
                </a:ext>
              </a:extLst>
            </p:cNvPr>
            <p:cNvSpPr/>
            <p:nvPr/>
          </p:nvSpPr>
          <p:spPr>
            <a:xfrm>
              <a:off x="4577974" y="5008076"/>
              <a:ext cx="812251" cy="608425"/>
            </a:xfrm>
            <a:custGeom>
              <a:avLst/>
              <a:gdLst>
                <a:gd name="connsiteX0" fmla="*/ 2853 w 812251"/>
                <a:gd name="connsiteY0" fmla="*/ 0 h 608425"/>
                <a:gd name="connsiteX1" fmla="*/ 0 w 812251"/>
                <a:gd name="connsiteY1" fmla="*/ 122636 h 608425"/>
                <a:gd name="connsiteX2" fmla="*/ 459388 w 812251"/>
                <a:gd name="connsiteY2" fmla="*/ 600820 h 608425"/>
                <a:gd name="connsiteX3" fmla="*/ 812251 w 812251"/>
                <a:gd name="connsiteY3" fmla="*/ 608425 h 608425"/>
                <a:gd name="connsiteX4" fmla="*/ 646757 w 812251"/>
                <a:gd name="connsiteY4" fmla="*/ 211048 h 608425"/>
                <a:gd name="connsiteX5" fmla="*/ 428001 w 812251"/>
                <a:gd name="connsiteY5" fmla="*/ 287101 h 608425"/>
                <a:gd name="connsiteX6" fmla="*/ 2853 w 812251"/>
                <a:gd name="connsiteY6" fmla="*/ 0 h 60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251" h="608425">
                  <a:moveTo>
                    <a:pt x="2853" y="0"/>
                  </a:moveTo>
                  <a:lnTo>
                    <a:pt x="0" y="122636"/>
                  </a:lnTo>
                  <a:cubicBezTo>
                    <a:pt x="219707" y="199640"/>
                    <a:pt x="390908" y="378365"/>
                    <a:pt x="459388" y="600820"/>
                  </a:cubicBezTo>
                  <a:lnTo>
                    <a:pt x="812251" y="608425"/>
                  </a:lnTo>
                  <a:cubicBezTo>
                    <a:pt x="784669" y="465826"/>
                    <a:pt x="728553" y="330831"/>
                    <a:pt x="646757" y="211048"/>
                  </a:cubicBezTo>
                  <a:lnTo>
                    <a:pt x="428001" y="287101"/>
                  </a:lnTo>
                  <a:cubicBezTo>
                    <a:pt x="316721" y="149254"/>
                    <a:pt x="168347" y="50385"/>
                    <a:pt x="2853" y="0"/>
                  </a:cubicBezTo>
                  <a:close/>
                </a:path>
              </a:pathLst>
            </a:custGeom>
            <a:solidFill>
              <a:srgbClr val="FFC713"/>
            </a:solidFill>
            <a:ln w="9504"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D789CC95-1C23-9DFD-FE61-C87233C2BAFC}"/>
                </a:ext>
              </a:extLst>
            </p:cNvPr>
            <p:cNvSpPr/>
            <p:nvPr/>
          </p:nvSpPr>
          <p:spPr>
            <a:xfrm>
              <a:off x="4580828" y="4778015"/>
              <a:ext cx="642952" cy="517161"/>
            </a:xfrm>
            <a:custGeom>
              <a:avLst/>
              <a:gdLst>
                <a:gd name="connsiteX0" fmla="*/ 4756 w 642952"/>
                <a:gd name="connsiteY0" fmla="*/ 0 h 517161"/>
                <a:gd name="connsiteX1" fmla="*/ 0 w 642952"/>
                <a:gd name="connsiteY1" fmla="*/ 230061 h 517161"/>
                <a:gd name="connsiteX2" fmla="*/ 424197 w 642952"/>
                <a:gd name="connsiteY2" fmla="*/ 517162 h 517161"/>
                <a:gd name="connsiteX3" fmla="*/ 642953 w 642952"/>
                <a:gd name="connsiteY3" fmla="*/ 441108 h 517161"/>
                <a:gd name="connsiteX4" fmla="*/ 529770 w 642952"/>
                <a:gd name="connsiteY4" fmla="*/ 301361 h 517161"/>
                <a:gd name="connsiteX5" fmla="*/ 4756 w 642952"/>
                <a:gd name="connsiteY5" fmla="*/ 0 h 51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52" h="517161">
                  <a:moveTo>
                    <a:pt x="4756" y="0"/>
                  </a:moveTo>
                  <a:lnTo>
                    <a:pt x="0" y="230061"/>
                  </a:lnTo>
                  <a:cubicBezTo>
                    <a:pt x="165494" y="280446"/>
                    <a:pt x="313867" y="379315"/>
                    <a:pt x="424197" y="517162"/>
                  </a:cubicBezTo>
                  <a:lnTo>
                    <a:pt x="642953" y="441108"/>
                  </a:lnTo>
                  <a:cubicBezTo>
                    <a:pt x="609664" y="391674"/>
                    <a:pt x="571619" y="345091"/>
                    <a:pt x="529770" y="301361"/>
                  </a:cubicBezTo>
                  <a:cubicBezTo>
                    <a:pt x="385201" y="150205"/>
                    <a:pt x="203538" y="46583"/>
                    <a:pt x="4756" y="0"/>
                  </a:cubicBezTo>
                  <a:close/>
                </a:path>
              </a:pathLst>
            </a:custGeom>
            <a:solidFill>
              <a:srgbClr val="010101"/>
            </a:solidFill>
            <a:ln w="9504"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0FA7C58-8FAA-BC2D-E4C5-7BF63773DD36}"/>
                </a:ext>
              </a:extLst>
            </p:cNvPr>
            <p:cNvSpPr/>
            <p:nvPr/>
          </p:nvSpPr>
          <p:spPr>
            <a:xfrm>
              <a:off x="4580828" y="4778015"/>
              <a:ext cx="642952" cy="517161"/>
            </a:xfrm>
            <a:custGeom>
              <a:avLst/>
              <a:gdLst>
                <a:gd name="connsiteX0" fmla="*/ 4756 w 642952"/>
                <a:gd name="connsiteY0" fmla="*/ 0 h 517161"/>
                <a:gd name="connsiteX1" fmla="*/ 0 w 642952"/>
                <a:gd name="connsiteY1" fmla="*/ 230061 h 517161"/>
                <a:gd name="connsiteX2" fmla="*/ 424197 w 642952"/>
                <a:gd name="connsiteY2" fmla="*/ 517162 h 517161"/>
                <a:gd name="connsiteX3" fmla="*/ 642953 w 642952"/>
                <a:gd name="connsiteY3" fmla="*/ 441108 h 517161"/>
                <a:gd name="connsiteX4" fmla="*/ 529770 w 642952"/>
                <a:gd name="connsiteY4" fmla="*/ 301361 h 517161"/>
                <a:gd name="connsiteX5" fmla="*/ 4756 w 642952"/>
                <a:gd name="connsiteY5" fmla="*/ 0 h 51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52" h="517161">
                  <a:moveTo>
                    <a:pt x="4756" y="0"/>
                  </a:moveTo>
                  <a:lnTo>
                    <a:pt x="0" y="230061"/>
                  </a:lnTo>
                  <a:cubicBezTo>
                    <a:pt x="165494" y="280446"/>
                    <a:pt x="313867" y="379315"/>
                    <a:pt x="424197" y="517162"/>
                  </a:cubicBezTo>
                  <a:lnTo>
                    <a:pt x="642953" y="441108"/>
                  </a:lnTo>
                  <a:cubicBezTo>
                    <a:pt x="609664" y="391674"/>
                    <a:pt x="571619" y="345091"/>
                    <a:pt x="529770" y="301361"/>
                  </a:cubicBezTo>
                  <a:cubicBezTo>
                    <a:pt x="385201" y="150205"/>
                    <a:pt x="203538" y="46583"/>
                    <a:pt x="4756" y="0"/>
                  </a:cubicBezTo>
                  <a:close/>
                </a:path>
              </a:pathLst>
            </a:custGeom>
            <a:solidFill>
              <a:srgbClr val="DF4726"/>
            </a:solidFill>
            <a:ln w="9504"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0D7AA86-5AF8-AFB8-6A21-3755B607DFCE}"/>
                </a:ext>
              </a:extLst>
            </p:cNvPr>
            <p:cNvSpPr/>
            <p:nvPr/>
          </p:nvSpPr>
          <p:spPr>
            <a:xfrm>
              <a:off x="4342098" y="5208666"/>
              <a:ext cx="606981" cy="626488"/>
            </a:xfrm>
            <a:custGeom>
              <a:avLst/>
              <a:gdLst>
                <a:gd name="connsiteX0" fmla="*/ 606811 w 606981"/>
                <a:gd name="connsiteY0" fmla="*/ 626488 h 626488"/>
                <a:gd name="connsiteX1" fmla="*/ 437512 w 606981"/>
                <a:gd name="connsiteY1" fmla="*/ 189182 h 626488"/>
                <a:gd name="connsiteX2" fmla="*/ 436561 w 606981"/>
                <a:gd name="connsiteY2" fmla="*/ 188232 h 626488"/>
                <a:gd name="connsiteX3" fmla="*/ 8560 w 606981"/>
                <a:gd name="connsiteY3" fmla="*/ 0 h 626488"/>
                <a:gd name="connsiteX4" fmla="*/ 6658 w 606981"/>
                <a:gd name="connsiteY4" fmla="*/ 74152 h 626488"/>
                <a:gd name="connsiteX5" fmla="*/ 6658 w 606981"/>
                <a:gd name="connsiteY5" fmla="*/ 74152 h 626488"/>
                <a:gd name="connsiteX6" fmla="*/ 6658 w 606981"/>
                <a:gd name="connsiteY6" fmla="*/ 74152 h 626488"/>
                <a:gd name="connsiteX7" fmla="*/ 383299 w 606981"/>
                <a:gd name="connsiteY7" fmla="*/ 241469 h 626488"/>
                <a:gd name="connsiteX8" fmla="*/ 275823 w 606981"/>
                <a:gd name="connsiteY8" fmla="*/ 343190 h 626488"/>
                <a:gd name="connsiteX9" fmla="*/ 2853 w 606981"/>
                <a:gd name="connsiteY9" fmla="*/ 222456 h 626488"/>
                <a:gd name="connsiteX10" fmla="*/ 2853 w 606981"/>
                <a:gd name="connsiteY10" fmla="*/ 222456 h 626488"/>
                <a:gd name="connsiteX11" fmla="*/ 1902 w 606981"/>
                <a:gd name="connsiteY11" fmla="*/ 222456 h 626488"/>
                <a:gd name="connsiteX12" fmla="*/ 0 w 606981"/>
                <a:gd name="connsiteY12" fmla="*/ 296607 h 626488"/>
                <a:gd name="connsiteX13" fmla="*/ 220658 w 606981"/>
                <a:gd name="connsiteY13" fmla="*/ 393575 h 626488"/>
                <a:gd name="connsiteX14" fmla="*/ 221609 w 606981"/>
                <a:gd name="connsiteY14" fmla="*/ 394526 h 626488"/>
                <a:gd name="connsiteX15" fmla="*/ 221609 w 606981"/>
                <a:gd name="connsiteY15" fmla="*/ 394526 h 626488"/>
                <a:gd name="connsiteX16" fmla="*/ 309112 w 606981"/>
                <a:gd name="connsiteY16" fmla="*/ 619833 h 626488"/>
                <a:gd name="connsiteX17" fmla="*/ 606811 w 606981"/>
                <a:gd name="connsiteY17" fmla="*/ 626488 h 62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6981" h="626488">
                  <a:moveTo>
                    <a:pt x="606811" y="626488"/>
                  </a:moveTo>
                  <a:cubicBezTo>
                    <a:pt x="610615" y="462974"/>
                    <a:pt x="550695" y="308015"/>
                    <a:pt x="437512" y="189182"/>
                  </a:cubicBezTo>
                  <a:lnTo>
                    <a:pt x="436561" y="188232"/>
                  </a:lnTo>
                  <a:cubicBezTo>
                    <a:pt x="323379" y="70349"/>
                    <a:pt x="171200" y="3803"/>
                    <a:pt x="8560" y="0"/>
                  </a:cubicBezTo>
                  <a:lnTo>
                    <a:pt x="6658" y="74152"/>
                  </a:lnTo>
                  <a:lnTo>
                    <a:pt x="6658" y="74152"/>
                  </a:lnTo>
                  <a:lnTo>
                    <a:pt x="6658" y="74152"/>
                  </a:lnTo>
                  <a:cubicBezTo>
                    <a:pt x="150276" y="77954"/>
                    <a:pt x="284383" y="136896"/>
                    <a:pt x="383299" y="241469"/>
                  </a:cubicBezTo>
                  <a:lnTo>
                    <a:pt x="275823" y="343190"/>
                  </a:lnTo>
                  <a:cubicBezTo>
                    <a:pt x="203538" y="268088"/>
                    <a:pt x="107476" y="224357"/>
                    <a:pt x="2853" y="222456"/>
                  </a:cubicBezTo>
                  <a:lnTo>
                    <a:pt x="2853" y="222456"/>
                  </a:lnTo>
                  <a:lnTo>
                    <a:pt x="1902" y="222456"/>
                  </a:lnTo>
                  <a:lnTo>
                    <a:pt x="0" y="296607"/>
                  </a:lnTo>
                  <a:cubicBezTo>
                    <a:pt x="84649" y="298509"/>
                    <a:pt x="162640" y="332733"/>
                    <a:pt x="220658" y="393575"/>
                  </a:cubicBezTo>
                  <a:lnTo>
                    <a:pt x="221609" y="394526"/>
                  </a:lnTo>
                  <a:lnTo>
                    <a:pt x="221609" y="394526"/>
                  </a:lnTo>
                  <a:cubicBezTo>
                    <a:pt x="279627" y="455368"/>
                    <a:pt x="311014" y="535224"/>
                    <a:pt x="309112" y="619833"/>
                  </a:cubicBezTo>
                  <a:lnTo>
                    <a:pt x="606811" y="626488"/>
                  </a:lnTo>
                  <a:close/>
                </a:path>
              </a:pathLst>
            </a:custGeom>
            <a:solidFill>
              <a:srgbClr val="01AAA3"/>
            </a:solidFill>
            <a:ln w="9504"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B67CFA7-7924-C8E8-8359-DBA3B89FC61B}"/>
                </a:ext>
              </a:extLst>
            </p:cNvPr>
            <p:cNvSpPr/>
            <p:nvPr/>
          </p:nvSpPr>
          <p:spPr>
            <a:xfrm>
              <a:off x="3962604" y="5281868"/>
              <a:ext cx="386152" cy="256679"/>
            </a:xfrm>
            <a:custGeom>
              <a:avLst/>
              <a:gdLst>
                <a:gd name="connsiteX0" fmla="*/ 384250 w 386152"/>
                <a:gd name="connsiteY0" fmla="*/ 951 h 256679"/>
                <a:gd name="connsiteX1" fmla="*/ 0 w 386152"/>
                <a:gd name="connsiteY1" fmla="*/ 150205 h 256679"/>
                <a:gd name="connsiteX2" fmla="*/ 102720 w 386152"/>
                <a:gd name="connsiteY2" fmla="*/ 256680 h 256679"/>
                <a:gd name="connsiteX3" fmla="*/ 381397 w 386152"/>
                <a:gd name="connsiteY3" fmla="*/ 148304 h 256679"/>
                <a:gd name="connsiteX4" fmla="*/ 382348 w 386152"/>
                <a:gd name="connsiteY4" fmla="*/ 148304 h 256679"/>
                <a:gd name="connsiteX5" fmla="*/ 386152 w 386152"/>
                <a:gd name="connsiteY5" fmla="*/ 0 h 256679"/>
                <a:gd name="connsiteX6" fmla="*/ 384250 w 386152"/>
                <a:gd name="connsiteY6" fmla="*/ 951 h 25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152" h="256679">
                  <a:moveTo>
                    <a:pt x="384250" y="951"/>
                  </a:moveTo>
                  <a:cubicBezTo>
                    <a:pt x="240632" y="-1901"/>
                    <a:pt x="103671" y="51336"/>
                    <a:pt x="0" y="150205"/>
                  </a:cubicBezTo>
                  <a:lnTo>
                    <a:pt x="102720" y="256680"/>
                  </a:lnTo>
                  <a:cubicBezTo>
                    <a:pt x="177858" y="184429"/>
                    <a:pt x="276774" y="146402"/>
                    <a:pt x="381397" y="148304"/>
                  </a:cubicBezTo>
                  <a:lnTo>
                    <a:pt x="382348" y="148304"/>
                  </a:lnTo>
                  <a:lnTo>
                    <a:pt x="386152" y="0"/>
                  </a:lnTo>
                  <a:lnTo>
                    <a:pt x="384250" y="951"/>
                  </a:lnTo>
                  <a:close/>
                </a:path>
              </a:pathLst>
            </a:custGeom>
            <a:solidFill>
              <a:srgbClr val="ED1765"/>
            </a:solidFill>
            <a:ln w="950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4A0A34B-5C06-B1F6-0DF6-814366CC9029}"/>
                </a:ext>
              </a:extLst>
            </p:cNvPr>
            <p:cNvSpPr/>
            <p:nvPr/>
          </p:nvSpPr>
          <p:spPr>
            <a:xfrm>
              <a:off x="4345903" y="5282818"/>
              <a:ext cx="380445" cy="269038"/>
            </a:xfrm>
            <a:custGeom>
              <a:avLst/>
              <a:gdLst>
                <a:gd name="connsiteX0" fmla="*/ 0 w 380445"/>
                <a:gd name="connsiteY0" fmla="*/ 148304 h 269038"/>
                <a:gd name="connsiteX1" fmla="*/ 272970 w 380445"/>
                <a:gd name="connsiteY1" fmla="*/ 269038 h 269038"/>
                <a:gd name="connsiteX2" fmla="*/ 380445 w 380445"/>
                <a:gd name="connsiteY2" fmla="*/ 167317 h 269038"/>
                <a:gd name="connsiteX3" fmla="*/ 3804 w 380445"/>
                <a:gd name="connsiteY3" fmla="*/ 0 h 269038"/>
                <a:gd name="connsiteX4" fmla="*/ 3804 w 380445"/>
                <a:gd name="connsiteY4" fmla="*/ 0 h 269038"/>
                <a:gd name="connsiteX5" fmla="*/ 3804 w 380445"/>
                <a:gd name="connsiteY5" fmla="*/ 0 h 269038"/>
                <a:gd name="connsiteX6" fmla="*/ 0 w 380445"/>
                <a:gd name="connsiteY6" fmla="*/ 148304 h 269038"/>
                <a:gd name="connsiteX7" fmla="*/ 0 w 380445"/>
                <a:gd name="connsiteY7" fmla="*/ 148304 h 269038"/>
                <a:gd name="connsiteX8" fmla="*/ 0 w 380445"/>
                <a:gd name="connsiteY8" fmla="*/ 148304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445" h="269038">
                  <a:moveTo>
                    <a:pt x="0" y="148304"/>
                  </a:moveTo>
                  <a:cubicBezTo>
                    <a:pt x="103671" y="151156"/>
                    <a:pt x="200685" y="193936"/>
                    <a:pt x="272970" y="269038"/>
                  </a:cubicBezTo>
                  <a:lnTo>
                    <a:pt x="380445" y="167317"/>
                  </a:lnTo>
                  <a:cubicBezTo>
                    <a:pt x="281530" y="62744"/>
                    <a:pt x="147423" y="3803"/>
                    <a:pt x="3804" y="0"/>
                  </a:cubicBezTo>
                  <a:lnTo>
                    <a:pt x="3804" y="0"/>
                  </a:lnTo>
                  <a:lnTo>
                    <a:pt x="3804" y="0"/>
                  </a:lnTo>
                  <a:lnTo>
                    <a:pt x="0" y="148304"/>
                  </a:lnTo>
                  <a:lnTo>
                    <a:pt x="0" y="148304"/>
                  </a:lnTo>
                  <a:lnTo>
                    <a:pt x="0" y="148304"/>
                  </a:lnTo>
                  <a:close/>
                </a:path>
              </a:pathLst>
            </a:custGeom>
            <a:solidFill>
              <a:srgbClr val="010101"/>
            </a:solidFill>
            <a:ln w="950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42A3AF0-E102-E00B-9B02-29A5BC65393E}"/>
                </a:ext>
              </a:extLst>
            </p:cNvPr>
            <p:cNvSpPr/>
            <p:nvPr/>
          </p:nvSpPr>
          <p:spPr>
            <a:xfrm>
              <a:off x="4345903" y="5282818"/>
              <a:ext cx="380445" cy="269038"/>
            </a:xfrm>
            <a:custGeom>
              <a:avLst/>
              <a:gdLst>
                <a:gd name="connsiteX0" fmla="*/ 0 w 380445"/>
                <a:gd name="connsiteY0" fmla="*/ 148304 h 269038"/>
                <a:gd name="connsiteX1" fmla="*/ 272970 w 380445"/>
                <a:gd name="connsiteY1" fmla="*/ 269038 h 269038"/>
                <a:gd name="connsiteX2" fmla="*/ 380445 w 380445"/>
                <a:gd name="connsiteY2" fmla="*/ 167317 h 269038"/>
                <a:gd name="connsiteX3" fmla="*/ 3804 w 380445"/>
                <a:gd name="connsiteY3" fmla="*/ 0 h 269038"/>
                <a:gd name="connsiteX4" fmla="*/ 3804 w 380445"/>
                <a:gd name="connsiteY4" fmla="*/ 0 h 269038"/>
                <a:gd name="connsiteX5" fmla="*/ 3804 w 380445"/>
                <a:gd name="connsiteY5" fmla="*/ 0 h 269038"/>
                <a:gd name="connsiteX6" fmla="*/ 0 w 380445"/>
                <a:gd name="connsiteY6" fmla="*/ 148304 h 269038"/>
                <a:gd name="connsiteX7" fmla="*/ 0 w 380445"/>
                <a:gd name="connsiteY7" fmla="*/ 148304 h 269038"/>
                <a:gd name="connsiteX8" fmla="*/ 0 w 380445"/>
                <a:gd name="connsiteY8" fmla="*/ 148304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445" h="269038">
                  <a:moveTo>
                    <a:pt x="0" y="148304"/>
                  </a:moveTo>
                  <a:cubicBezTo>
                    <a:pt x="103671" y="151156"/>
                    <a:pt x="200685" y="193936"/>
                    <a:pt x="272970" y="269038"/>
                  </a:cubicBezTo>
                  <a:lnTo>
                    <a:pt x="380445" y="167317"/>
                  </a:lnTo>
                  <a:cubicBezTo>
                    <a:pt x="281530" y="62744"/>
                    <a:pt x="147423" y="3803"/>
                    <a:pt x="3804" y="0"/>
                  </a:cubicBezTo>
                  <a:lnTo>
                    <a:pt x="3804" y="0"/>
                  </a:lnTo>
                  <a:lnTo>
                    <a:pt x="3804" y="0"/>
                  </a:lnTo>
                  <a:lnTo>
                    <a:pt x="0" y="148304"/>
                  </a:lnTo>
                  <a:lnTo>
                    <a:pt x="0" y="148304"/>
                  </a:lnTo>
                  <a:lnTo>
                    <a:pt x="0" y="148304"/>
                  </a:lnTo>
                  <a:close/>
                </a:path>
              </a:pathLst>
            </a:custGeom>
            <a:solidFill>
              <a:srgbClr val="345C42"/>
            </a:solidFill>
            <a:ln w="9504" cap="flat">
              <a:noFill/>
              <a:prstDash val="solid"/>
              <a:miter/>
            </a:ln>
          </p:spPr>
          <p:txBody>
            <a:bodyPr rtlCol="0" anchor="ctr"/>
            <a:lstStyle/>
            <a:p>
              <a:endParaRPr lang="en-US"/>
            </a:p>
          </p:txBody>
        </p:sp>
      </p:grpSp>
    </p:spTree>
    <p:extLst>
      <p:ext uri="{BB962C8B-B14F-4D97-AF65-F5344CB8AC3E}">
        <p14:creationId xmlns:p14="http://schemas.microsoft.com/office/powerpoint/2010/main" val="412885688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3" r:id="rId9"/>
    <p:sldLayoutId id="2147483960" r:id="rId10"/>
    <p:sldLayoutId id="2147483944" r:id="rId11"/>
    <p:sldLayoutId id="2147483967" r:id="rId12"/>
  </p:sldLayoutIdLst>
  <p:hf hdr="0"/>
  <p:txStyles>
    <p:titleStyle>
      <a:lvl1pPr algn="l" defTabSz="2072941" rtl="0" eaLnBrk="1" latinLnBrk="0" hangingPunct="1">
        <a:lnSpc>
          <a:spcPct val="90000"/>
        </a:lnSpc>
        <a:spcBef>
          <a:spcPct val="0"/>
        </a:spcBef>
        <a:buNone/>
        <a:defRPr sz="9975" kern="1200">
          <a:solidFill>
            <a:srgbClr val="011E3B"/>
          </a:solidFill>
          <a:latin typeface="Poppins" pitchFamily="2" charset="77"/>
          <a:ea typeface="+mj-ea"/>
          <a:cs typeface="Poppins" pitchFamily="2" charset="77"/>
        </a:defRPr>
      </a:lvl1pPr>
    </p:titleStyle>
    <p:bodyStyle>
      <a:lvl1pPr marL="518236" indent="-518236" algn="l" defTabSz="2072941" rtl="0" eaLnBrk="1" latinLnBrk="0" hangingPunct="1">
        <a:lnSpc>
          <a:spcPct val="100000"/>
        </a:lnSpc>
        <a:spcBef>
          <a:spcPts val="2267"/>
        </a:spcBef>
        <a:buFont typeface="Arial" panose="020B0604020202020204" pitchFamily="34" charset="0"/>
        <a:buChar char="•"/>
        <a:defRPr sz="6349" kern="1200">
          <a:solidFill>
            <a:srgbClr val="011E3B"/>
          </a:solidFill>
          <a:latin typeface="Poppins" pitchFamily="2" charset="77"/>
          <a:ea typeface="+mn-ea"/>
          <a:cs typeface="Poppins" pitchFamily="2" charset="77"/>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p:bodyStyle>
    <p:otherStyle>
      <a:defPPr>
        <a:defRPr lang="en-US"/>
      </a:defPPr>
      <a:lvl1pPr marL="0" algn="l" defTabSz="2072941" rtl="0" eaLnBrk="1" latinLnBrk="0" hangingPunct="1">
        <a:defRPr sz="4080" kern="1200">
          <a:solidFill>
            <a:schemeClr val="tx1"/>
          </a:solidFill>
          <a:latin typeface="+mn-lt"/>
          <a:ea typeface="+mn-ea"/>
          <a:cs typeface="+mn-cs"/>
        </a:defRPr>
      </a:lvl1pPr>
      <a:lvl2pPr marL="1036469" algn="l" defTabSz="2072941" rtl="0" eaLnBrk="1" latinLnBrk="0" hangingPunct="1">
        <a:defRPr sz="4080" kern="1200">
          <a:solidFill>
            <a:schemeClr val="tx1"/>
          </a:solidFill>
          <a:latin typeface="+mn-lt"/>
          <a:ea typeface="+mn-ea"/>
          <a:cs typeface="+mn-cs"/>
        </a:defRPr>
      </a:lvl2pPr>
      <a:lvl3pPr marL="2072941" algn="l" defTabSz="2072941" rtl="0" eaLnBrk="1" latinLnBrk="0" hangingPunct="1">
        <a:defRPr sz="4080" kern="1200">
          <a:solidFill>
            <a:schemeClr val="tx1"/>
          </a:solidFill>
          <a:latin typeface="+mn-lt"/>
          <a:ea typeface="+mn-ea"/>
          <a:cs typeface="+mn-cs"/>
        </a:defRPr>
      </a:lvl3pPr>
      <a:lvl4pPr marL="3109412" algn="l" defTabSz="2072941" rtl="0" eaLnBrk="1" latinLnBrk="0" hangingPunct="1">
        <a:defRPr sz="4080" kern="1200">
          <a:solidFill>
            <a:schemeClr val="tx1"/>
          </a:solidFill>
          <a:latin typeface="+mn-lt"/>
          <a:ea typeface="+mn-ea"/>
          <a:cs typeface="+mn-cs"/>
        </a:defRPr>
      </a:lvl4pPr>
      <a:lvl5pPr marL="4145883" algn="l" defTabSz="2072941" rtl="0" eaLnBrk="1" latinLnBrk="0" hangingPunct="1">
        <a:defRPr sz="4080" kern="1200">
          <a:solidFill>
            <a:schemeClr val="tx1"/>
          </a:solidFill>
          <a:latin typeface="+mn-lt"/>
          <a:ea typeface="+mn-ea"/>
          <a:cs typeface="+mn-cs"/>
        </a:defRPr>
      </a:lvl5pPr>
      <a:lvl6pPr marL="5182352" algn="l" defTabSz="2072941" rtl="0" eaLnBrk="1" latinLnBrk="0" hangingPunct="1">
        <a:defRPr sz="4080" kern="1200">
          <a:solidFill>
            <a:schemeClr val="tx1"/>
          </a:solidFill>
          <a:latin typeface="+mn-lt"/>
          <a:ea typeface="+mn-ea"/>
          <a:cs typeface="+mn-cs"/>
        </a:defRPr>
      </a:lvl6pPr>
      <a:lvl7pPr marL="6218822" algn="l" defTabSz="2072941" rtl="0" eaLnBrk="1" latinLnBrk="0" hangingPunct="1">
        <a:defRPr sz="4080" kern="1200">
          <a:solidFill>
            <a:schemeClr val="tx1"/>
          </a:solidFill>
          <a:latin typeface="+mn-lt"/>
          <a:ea typeface="+mn-ea"/>
          <a:cs typeface="+mn-cs"/>
        </a:defRPr>
      </a:lvl7pPr>
      <a:lvl8pPr marL="7255294" algn="l" defTabSz="2072941" rtl="0" eaLnBrk="1" latinLnBrk="0" hangingPunct="1">
        <a:defRPr sz="4080" kern="1200">
          <a:solidFill>
            <a:schemeClr val="tx1"/>
          </a:solidFill>
          <a:latin typeface="+mn-lt"/>
          <a:ea typeface="+mn-ea"/>
          <a:cs typeface="+mn-cs"/>
        </a:defRPr>
      </a:lvl8pPr>
      <a:lvl9pPr marL="8291764" algn="l" defTabSz="2072941" rtl="0" eaLnBrk="1" latinLnBrk="0" hangingPunct="1">
        <a:defRPr sz="40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F26B43"/>
          </p15:clr>
        </p15:guide>
        <p15:guide id="2" pos="4399" userDrawn="1">
          <p15:clr>
            <a:srgbClr val="F26B43"/>
          </p15:clr>
        </p15:guide>
        <p15:guide id="3" orient="horz" pos="374" userDrawn="1">
          <p15:clr>
            <a:srgbClr val="F26B43"/>
          </p15:clr>
        </p15:guide>
        <p15:guide id="4" pos="2381" userDrawn="1">
          <p15:clr>
            <a:srgbClr val="F26B43"/>
          </p15:clr>
        </p15:guide>
        <p15:guide id="5" orient="horz" pos="336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company/94290387/admin/" TargetMode="External"/><Relationship Id="rId3" Type="http://schemas.openxmlformats.org/officeDocument/2006/relationships/image" Target="../media/image7.jpeg"/><Relationship Id="rId7" Type="http://schemas.openxmlformats.org/officeDocument/2006/relationships/image" Target="../media/image9.svg"/><Relationship Id="rId2" Type="http://schemas.openxmlformats.org/officeDocument/2006/relationships/image" Target="../media/image6.JPG"/><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hyperlink" Target="https://projectdare.eu/" TargetMode="External"/><Relationship Id="rId10" Type="http://schemas.openxmlformats.org/officeDocument/2006/relationships/image" Target="../media/image11.png"/><Relationship Id="rId4" Type="http://schemas.openxmlformats.org/officeDocument/2006/relationships/hyperlink" Target="https://www.facebook.com/profile.php?id=100092188720908" TargetMode="External"/><Relationship Id="rId9" Type="http://schemas.openxmlformats.org/officeDocument/2006/relationships/image" Target="../media/image10.jpeg"/></Relationships>
</file>

<file path=ppt/slides/_rels/slide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5.png"/><Relationship Id="rId3" Type="http://schemas.openxmlformats.org/officeDocument/2006/relationships/oleObject" Target="../embeddings/oleObject2.bin"/><Relationship Id="rId7" Type="http://schemas.openxmlformats.org/officeDocument/2006/relationships/hyperlink" Target="https://projectdare.eu/" TargetMode="External"/><Relationship Id="rId12" Type="http://schemas.openxmlformats.org/officeDocument/2006/relationships/image" Target="../media/image14.png"/><Relationship Id="rId2" Type="http://schemas.openxmlformats.org/officeDocument/2006/relationships/slideLayout" Target="../slideLayouts/slideLayout11.xml"/><Relationship Id="rId1" Type="http://schemas.openxmlformats.org/officeDocument/2006/relationships/tags" Target="../tags/tag3.xml"/><Relationship Id="rId6" Type="http://schemas.openxmlformats.org/officeDocument/2006/relationships/hyperlink" Target="https://www.facebook.com/profile.php?id=100092188720908" TargetMode="External"/><Relationship Id="rId11" Type="http://schemas.openxmlformats.org/officeDocument/2006/relationships/image" Target="../media/image10.jpeg"/><Relationship Id="rId5" Type="http://schemas.openxmlformats.org/officeDocument/2006/relationships/image" Target="../media/image7.jpeg"/><Relationship Id="rId10" Type="http://schemas.openxmlformats.org/officeDocument/2006/relationships/hyperlink" Target="https://www.linkedin.com/company/94290387/admin/" TargetMode="External"/><Relationship Id="rId4" Type="http://schemas.openxmlformats.org/officeDocument/2006/relationships/image" Target="../media/image1.emf"/><Relationship Id="rId9" Type="http://schemas.openxmlformats.org/officeDocument/2006/relationships/image" Target="../media/image9.svg"/><Relationship Id="rId1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80D0B608-8C78-DACA-B3FF-62E21BD52715}"/>
              </a:ext>
            </a:extLst>
          </p:cNvPr>
          <p:cNvPicPr>
            <a:picLocks noGrp="1" noChangeAspect="1"/>
          </p:cNvPicPr>
          <p:nvPr>
            <p:ph type="pic" sz="quarter" idx="43"/>
          </p:nvPr>
        </p:nvPicPr>
        <p:blipFill rotWithShape="1">
          <a:blip r:embed="rId2"/>
          <a:srcRect l="26580" r="26580"/>
          <a:stretch/>
        </p:blipFill>
        <p:spPr/>
      </p:pic>
      <p:sp>
        <p:nvSpPr>
          <p:cNvPr id="6" name="Text Placeholder 5">
            <a:extLst>
              <a:ext uri="{FF2B5EF4-FFF2-40B4-BE49-F238E27FC236}">
                <a16:creationId xmlns:a16="http://schemas.microsoft.com/office/drawing/2014/main" id="{48B36C12-D239-0FF6-8EC8-6E895492D680}"/>
              </a:ext>
            </a:extLst>
          </p:cNvPr>
          <p:cNvSpPr>
            <a:spLocks noGrp="1"/>
          </p:cNvSpPr>
          <p:nvPr>
            <p:ph type="body" sz="quarter" idx="44"/>
          </p:nvPr>
        </p:nvSpPr>
        <p:spPr/>
        <p:txBody>
          <a:bodyPr>
            <a:normAutofit/>
          </a:bodyPr>
          <a:lstStyle/>
          <a:p>
            <a:r>
              <a:rPr lang="en-GB"/>
              <a:t>www.</a:t>
            </a:r>
            <a:r>
              <a:rPr lang="en-US" sz="2400" b="1" dirty="0" err="1"/>
              <a:t>projectdare</a:t>
            </a:r>
            <a:r>
              <a:rPr lang="en-GB"/>
              <a:t>.eu</a:t>
            </a:r>
          </a:p>
        </p:txBody>
      </p:sp>
      <p:sp>
        <p:nvSpPr>
          <p:cNvPr id="5" name="Text Placeholder 4">
            <a:extLst>
              <a:ext uri="{FF2B5EF4-FFF2-40B4-BE49-F238E27FC236}">
                <a16:creationId xmlns:a16="http://schemas.microsoft.com/office/drawing/2014/main" id="{39792F19-0229-BA4A-0879-924340C51C91}"/>
              </a:ext>
            </a:extLst>
          </p:cNvPr>
          <p:cNvSpPr>
            <a:spLocks noGrp="1"/>
          </p:cNvSpPr>
          <p:nvPr>
            <p:ph type="body" sz="quarter" idx="32"/>
          </p:nvPr>
        </p:nvSpPr>
        <p:spPr>
          <a:xfrm>
            <a:off x="3653235" y="6425539"/>
            <a:ext cx="3460375" cy="2857179"/>
          </a:xfrm>
        </p:spPr>
        <p:txBody>
          <a:bodyPr>
            <a:noAutofit/>
          </a:bodyPr>
          <a:lstStyle/>
          <a:p>
            <a:pPr>
              <a:lnSpc>
                <a:spcPct val="107000"/>
              </a:lnSpc>
              <a:spcAft>
                <a:spcPts val="800"/>
              </a:spcAft>
            </a:pPr>
            <a:r>
              <a:rPr lang="en-GB" sz="1200" dirty="0" err="1">
                <a:effectLst/>
                <a:ea typeface="Aptos" panose="020B0004020202020204" pitchFamily="34" charset="0"/>
              </a:rPr>
              <a:t>Hch</a:t>
            </a:r>
            <a:r>
              <a:rPr lang="en-GB" sz="1200" dirty="0">
                <a:effectLst/>
                <a:ea typeface="Aptos" panose="020B0004020202020204" pitchFamily="34" charset="0"/>
              </a:rPr>
              <a:t>. </a:t>
            </a:r>
            <a:r>
              <a:rPr lang="en-GB" sz="1200" dirty="0" err="1">
                <a:effectLst/>
                <a:ea typeface="Aptos" panose="020B0004020202020204" pitchFamily="34" charset="0"/>
              </a:rPr>
              <a:t>Perschmann</a:t>
            </a:r>
            <a:r>
              <a:rPr lang="en-GB" sz="1200" dirty="0">
                <a:effectLst/>
                <a:ea typeface="Aptos" panose="020B0004020202020204" pitchFamily="34" charset="0"/>
              </a:rPr>
              <a:t> GmbH, a venerable family business established in 1866, boasts a legacy spanning over 150 years. Rooted in enduring values like clarity, trust, flexibility, responsibility, self-confidence, and high standards, the company stands by its motto: "A desire for company!" This ethos extends to fostering a familial and appreciative corporate culture.</a:t>
            </a:r>
            <a:endParaRPr lang="de-DE" sz="1200" dirty="0">
              <a:effectLst/>
              <a:ea typeface="Aptos" panose="020B0004020202020204" pitchFamily="34" charset="0"/>
            </a:endParaRPr>
          </a:p>
          <a:p>
            <a:pPr>
              <a:lnSpc>
                <a:spcPct val="107000"/>
              </a:lnSpc>
              <a:spcAft>
                <a:spcPts val="800"/>
              </a:spcAft>
            </a:pPr>
            <a:r>
              <a:rPr lang="en-GB" sz="1200" dirty="0">
                <a:effectLst/>
                <a:ea typeface="Aptos" panose="020B0004020202020204" pitchFamily="34" charset="0"/>
              </a:rPr>
              <a:t>Acknowledging the intricate balance between professional and personal lives, the company embarked on a mission to bolster their workforce's well-being. Their aim was clear: to continually evolve and implement family-friendly measures aligned with their identity as a family-oriented employer.</a:t>
            </a:r>
            <a:endParaRPr lang="de-DE" dirty="0">
              <a:effectLst/>
              <a:ea typeface="Aptos" panose="020B0004020202020204" pitchFamily="34" charset="0"/>
            </a:endParaRPr>
          </a:p>
        </p:txBody>
      </p:sp>
      <p:sp>
        <p:nvSpPr>
          <p:cNvPr id="9" name="Text Placeholder 8">
            <a:extLst>
              <a:ext uri="{FF2B5EF4-FFF2-40B4-BE49-F238E27FC236}">
                <a16:creationId xmlns:a16="http://schemas.microsoft.com/office/drawing/2014/main" id="{84CB683A-CF14-5EDF-3D3E-DE8CA5D4CD1E}"/>
              </a:ext>
            </a:extLst>
          </p:cNvPr>
          <p:cNvSpPr>
            <a:spLocks noGrp="1"/>
          </p:cNvSpPr>
          <p:nvPr>
            <p:ph type="body" sz="quarter" idx="60"/>
          </p:nvPr>
        </p:nvSpPr>
        <p:spPr/>
        <p:txBody>
          <a:bodyPr>
            <a:normAutofit/>
          </a:bodyPr>
          <a:lstStyle/>
          <a:p>
            <a:r>
              <a:rPr lang="en-GB" dirty="0"/>
              <a:t>Business Size</a:t>
            </a:r>
          </a:p>
        </p:txBody>
      </p:sp>
      <p:sp>
        <p:nvSpPr>
          <p:cNvPr id="10" name="Text Placeholder 9">
            <a:extLst>
              <a:ext uri="{FF2B5EF4-FFF2-40B4-BE49-F238E27FC236}">
                <a16:creationId xmlns:a16="http://schemas.microsoft.com/office/drawing/2014/main" id="{676E2570-F700-718F-B5E1-B9992A10E77A}"/>
              </a:ext>
            </a:extLst>
          </p:cNvPr>
          <p:cNvSpPr>
            <a:spLocks noGrp="1"/>
          </p:cNvSpPr>
          <p:nvPr>
            <p:ph type="body" sz="quarter" idx="61"/>
          </p:nvPr>
        </p:nvSpPr>
        <p:spPr/>
        <p:txBody>
          <a:bodyPr>
            <a:normAutofit/>
          </a:bodyPr>
          <a:lstStyle/>
          <a:p>
            <a:r>
              <a:rPr lang="en-GB" dirty="0"/>
              <a:t>200 - 250 Employees</a:t>
            </a:r>
          </a:p>
        </p:txBody>
      </p:sp>
      <p:sp>
        <p:nvSpPr>
          <p:cNvPr id="11" name="Text Placeholder 10">
            <a:extLst>
              <a:ext uri="{FF2B5EF4-FFF2-40B4-BE49-F238E27FC236}">
                <a16:creationId xmlns:a16="http://schemas.microsoft.com/office/drawing/2014/main" id="{A9F20B16-8627-E8A8-43B4-7515738FB941}"/>
              </a:ext>
            </a:extLst>
          </p:cNvPr>
          <p:cNvSpPr>
            <a:spLocks noGrp="1"/>
          </p:cNvSpPr>
          <p:nvPr>
            <p:ph type="body" sz="quarter" idx="62"/>
          </p:nvPr>
        </p:nvSpPr>
        <p:spPr/>
        <p:txBody>
          <a:bodyPr>
            <a:normAutofit/>
          </a:bodyPr>
          <a:lstStyle/>
          <a:p>
            <a:r>
              <a:rPr lang="en-GB" dirty="0"/>
              <a:t>DEI Diversity Equality and Inclusion</a:t>
            </a:r>
          </a:p>
        </p:txBody>
      </p:sp>
      <p:sp>
        <p:nvSpPr>
          <p:cNvPr id="12" name="Text Placeholder 11">
            <a:extLst>
              <a:ext uri="{FF2B5EF4-FFF2-40B4-BE49-F238E27FC236}">
                <a16:creationId xmlns:a16="http://schemas.microsoft.com/office/drawing/2014/main" id="{7D2F4E10-9B56-BBA4-986B-B4C9D6EE7959}"/>
              </a:ext>
            </a:extLst>
          </p:cNvPr>
          <p:cNvSpPr>
            <a:spLocks noGrp="1"/>
          </p:cNvSpPr>
          <p:nvPr>
            <p:ph type="body" sz="quarter" idx="63"/>
          </p:nvPr>
        </p:nvSpPr>
        <p:spPr/>
        <p:txBody>
          <a:bodyPr>
            <a:normAutofit fontScale="92500" lnSpcReduction="20000"/>
          </a:bodyPr>
          <a:lstStyle/>
          <a:p>
            <a:r>
              <a:rPr lang="en-GB" dirty="0"/>
              <a:t>https://www.perschmann-gruppe.de/nachhaltigkeit/social/</a:t>
            </a:r>
          </a:p>
        </p:txBody>
      </p:sp>
      <p:sp>
        <p:nvSpPr>
          <p:cNvPr id="25" name="Text Placeholder 24">
            <a:extLst>
              <a:ext uri="{FF2B5EF4-FFF2-40B4-BE49-F238E27FC236}">
                <a16:creationId xmlns:a16="http://schemas.microsoft.com/office/drawing/2014/main" id="{F19C7C69-F55A-00B4-5C68-9E0698AC43C6}"/>
              </a:ext>
            </a:extLst>
          </p:cNvPr>
          <p:cNvSpPr>
            <a:spLocks noGrp="1"/>
          </p:cNvSpPr>
          <p:nvPr>
            <p:ph type="body" sz="quarter" idx="64"/>
          </p:nvPr>
        </p:nvSpPr>
        <p:spPr/>
        <p:txBody>
          <a:bodyPr/>
          <a:lstStyle/>
          <a:p>
            <a:r>
              <a:rPr lang="en-GB" dirty="0"/>
              <a:t>Website</a:t>
            </a:r>
          </a:p>
        </p:txBody>
      </p:sp>
      <p:sp>
        <p:nvSpPr>
          <p:cNvPr id="26" name="Text Placeholder 25">
            <a:extLst>
              <a:ext uri="{FF2B5EF4-FFF2-40B4-BE49-F238E27FC236}">
                <a16:creationId xmlns:a16="http://schemas.microsoft.com/office/drawing/2014/main" id="{019F3011-6448-72C9-CC9A-D8DE9CB0DBBC}"/>
              </a:ext>
            </a:extLst>
          </p:cNvPr>
          <p:cNvSpPr>
            <a:spLocks noGrp="1"/>
          </p:cNvSpPr>
          <p:nvPr>
            <p:ph type="body" sz="quarter" idx="65"/>
          </p:nvPr>
        </p:nvSpPr>
        <p:spPr/>
        <p:txBody>
          <a:bodyPr/>
          <a:lstStyle/>
          <a:p>
            <a:r>
              <a:rPr lang="en-GB" dirty="0"/>
              <a:t>www.perschmann.de</a:t>
            </a:r>
          </a:p>
        </p:txBody>
      </p:sp>
      <p:sp>
        <p:nvSpPr>
          <p:cNvPr id="7" name="Text Placeholder 6">
            <a:extLst>
              <a:ext uri="{FF2B5EF4-FFF2-40B4-BE49-F238E27FC236}">
                <a16:creationId xmlns:a16="http://schemas.microsoft.com/office/drawing/2014/main" id="{2218036C-7EB2-E5E9-FADD-3636DF3A3896}"/>
              </a:ext>
            </a:extLst>
          </p:cNvPr>
          <p:cNvSpPr>
            <a:spLocks noGrp="1"/>
          </p:cNvSpPr>
          <p:nvPr>
            <p:ph type="body" sz="quarter" idx="58"/>
          </p:nvPr>
        </p:nvSpPr>
        <p:spPr/>
        <p:txBody>
          <a:bodyPr>
            <a:normAutofit/>
          </a:bodyPr>
          <a:lstStyle/>
          <a:p>
            <a:r>
              <a:rPr lang="en-GB" dirty="0"/>
              <a:t>CEO</a:t>
            </a:r>
          </a:p>
        </p:txBody>
      </p:sp>
      <p:sp>
        <p:nvSpPr>
          <p:cNvPr id="8" name="Text Placeholder 7">
            <a:extLst>
              <a:ext uri="{FF2B5EF4-FFF2-40B4-BE49-F238E27FC236}">
                <a16:creationId xmlns:a16="http://schemas.microsoft.com/office/drawing/2014/main" id="{39C00486-5CF5-8888-1CD6-4510360BCB09}"/>
              </a:ext>
            </a:extLst>
          </p:cNvPr>
          <p:cNvSpPr>
            <a:spLocks noGrp="1"/>
          </p:cNvSpPr>
          <p:nvPr>
            <p:ph type="body" sz="quarter" idx="59"/>
          </p:nvPr>
        </p:nvSpPr>
        <p:spPr/>
        <p:txBody>
          <a:bodyPr>
            <a:normAutofit/>
          </a:bodyPr>
          <a:lstStyle/>
          <a:p>
            <a:r>
              <a:rPr lang="en-GB" dirty="0"/>
              <a:t>Justus </a:t>
            </a:r>
            <a:r>
              <a:rPr lang="en-GB" dirty="0" err="1"/>
              <a:t>Perschmann</a:t>
            </a:r>
            <a:endParaRPr lang="en-GB" dirty="0"/>
          </a:p>
        </p:txBody>
      </p:sp>
      <p:sp>
        <p:nvSpPr>
          <p:cNvPr id="2" name="Text Placeholder 1">
            <a:extLst>
              <a:ext uri="{FF2B5EF4-FFF2-40B4-BE49-F238E27FC236}">
                <a16:creationId xmlns:a16="http://schemas.microsoft.com/office/drawing/2014/main" id="{ADB29C28-376C-0A1A-2D23-755FBF54FCC1}"/>
              </a:ext>
            </a:extLst>
          </p:cNvPr>
          <p:cNvSpPr>
            <a:spLocks noGrp="1"/>
          </p:cNvSpPr>
          <p:nvPr>
            <p:ph type="body" sz="quarter" idx="11"/>
          </p:nvPr>
        </p:nvSpPr>
        <p:spPr>
          <a:xfrm>
            <a:off x="150914" y="3424467"/>
            <a:ext cx="3502321" cy="574616"/>
          </a:xfrm>
        </p:spPr>
        <p:txBody>
          <a:bodyPr/>
          <a:lstStyle/>
          <a:p>
            <a:r>
              <a:rPr lang="en-GB" sz="4800" dirty="0"/>
              <a:t>CASE STUDY</a:t>
            </a:r>
          </a:p>
        </p:txBody>
      </p:sp>
      <p:sp>
        <p:nvSpPr>
          <p:cNvPr id="3" name="Text Placeholder 2">
            <a:extLst>
              <a:ext uri="{FF2B5EF4-FFF2-40B4-BE49-F238E27FC236}">
                <a16:creationId xmlns:a16="http://schemas.microsoft.com/office/drawing/2014/main" id="{B1CE29B8-CA19-330F-E37F-89C2F0E34FD6}"/>
              </a:ext>
            </a:extLst>
          </p:cNvPr>
          <p:cNvSpPr>
            <a:spLocks noGrp="1"/>
          </p:cNvSpPr>
          <p:nvPr>
            <p:ph type="body" sz="quarter" idx="16"/>
          </p:nvPr>
        </p:nvSpPr>
        <p:spPr>
          <a:xfrm>
            <a:off x="663005" y="4072246"/>
            <a:ext cx="2821794" cy="751695"/>
          </a:xfrm>
        </p:spPr>
        <p:txBody>
          <a:bodyPr/>
          <a:lstStyle/>
          <a:p>
            <a:r>
              <a:rPr lang="en-GB" dirty="0" err="1"/>
              <a:t>Hch</a:t>
            </a:r>
            <a:r>
              <a:rPr lang="en-GB" dirty="0"/>
              <a:t>. </a:t>
            </a:r>
            <a:r>
              <a:rPr lang="en-GB" dirty="0" err="1"/>
              <a:t>Perschmann</a:t>
            </a:r>
            <a:r>
              <a:rPr lang="en-GB" dirty="0"/>
              <a:t> GmbH</a:t>
            </a:r>
          </a:p>
        </p:txBody>
      </p:sp>
      <p:grpSp>
        <p:nvGrpSpPr>
          <p:cNvPr id="13" name="Group 12">
            <a:extLst>
              <a:ext uri="{FF2B5EF4-FFF2-40B4-BE49-F238E27FC236}">
                <a16:creationId xmlns:a16="http://schemas.microsoft.com/office/drawing/2014/main" id="{1CB874ED-D228-B739-C5E5-8D24B0B90470}"/>
              </a:ext>
            </a:extLst>
          </p:cNvPr>
          <p:cNvGrpSpPr/>
          <p:nvPr/>
        </p:nvGrpSpPr>
        <p:grpSpPr>
          <a:xfrm rot="10327245">
            <a:off x="3182446" y="4825176"/>
            <a:ext cx="2061589" cy="1788378"/>
            <a:chOff x="-1397183" y="824494"/>
            <a:chExt cx="1192352" cy="1034336"/>
          </a:xfrm>
        </p:grpSpPr>
        <p:sp>
          <p:nvSpPr>
            <p:cNvPr id="14" name="Freeform 13">
              <a:extLst>
                <a:ext uri="{FF2B5EF4-FFF2-40B4-BE49-F238E27FC236}">
                  <a16:creationId xmlns:a16="http://schemas.microsoft.com/office/drawing/2014/main" id="{A178F316-4F05-474E-BF17-FC4E273D5F8C}"/>
                </a:ext>
              </a:extLst>
            </p:cNvPr>
            <p:cNvSpPr/>
            <p:nvPr userDrawn="1"/>
          </p:nvSpPr>
          <p:spPr>
            <a:xfrm>
              <a:off x="-1397183" y="824494"/>
              <a:ext cx="1192352" cy="654634"/>
            </a:xfrm>
            <a:custGeom>
              <a:avLst/>
              <a:gdLst>
                <a:gd name="connsiteX0" fmla="*/ 378063 w 1192352"/>
                <a:gd name="connsiteY0" fmla="*/ 452975 h 654634"/>
                <a:gd name="connsiteX1" fmla="*/ 382607 w 1192352"/>
                <a:gd name="connsiteY1" fmla="*/ 233148 h 654634"/>
                <a:gd name="connsiteX2" fmla="*/ 884268 w 1192352"/>
                <a:gd name="connsiteY2" fmla="*/ 521103 h 654634"/>
                <a:gd name="connsiteX3" fmla="*/ 992416 w 1192352"/>
                <a:gd name="connsiteY3" fmla="*/ 654635 h 654634"/>
                <a:gd name="connsiteX4" fmla="*/ 1192353 w 1192352"/>
                <a:gd name="connsiteY4" fmla="*/ 584690 h 654634"/>
                <a:gd name="connsiteX5" fmla="*/ 678878 w 1192352"/>
                <a:gd name="connsiteY5" fmla="*/ 125051 h 654634"/>
                <a:gd name="connsiteX6" fmla="*/ 0 w 1192352"/>
                <a:gd name="connsiteY6" fmla="*/ 7870 h 654634"/>
                <a:gd name="connsiteX7" fmla="*/ 141774 w 1192352"/>
                <a:gd name="connsiteY7" fmla="*/ 416640 h 654634"/>
                <a:gd name="connsiteX8" fmla="*/ 378063 w 1192352"/>
                <a:gd name="connsiteY8" fmla="*/ 452975 h 65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52" h="654634">
                  <a:moveTo>
                    <a:pt x="378063" y="452975"/>
                  </a:moveTo>
                  <a:lnTo>
                    <a:pt x="382607" y="233148"/>
                  </a:lnTo>
                  <a:cubicBezTo>
                    <a:pt x="572547" y="278567"/>
                    <a:pt x="746129" y="376671"/>
                    <a:pt x="884268" y="521103"/>
                  </a:cubicBezTo>
                  <a:cubicBezTo>
                    <a:pt x="924255" y="562889"/>
                    <a:pt x="960608" y="607399"/>
                    <a:pt x="992416" y="654635"/>
                  </a:cubicBezTo>
                  <a:lnTo>
                    <a:pt x="1192353" y="584690"/>
                  </a:lnTo>
                  <a:cubicBezTo>
                    <a:pt x="1069664" y="387572"/>
                    <a:pt x="893356" y="228606"/>
                    <a:pt x="678878" y="125051"/>
                  </a:cubicBezTo>
                  <a:cubicBezTo>
                    <a:pt x="464400" y="21496"/>
                    <a:pt x="230837" y="-18473"/>
                    <a:pt x="0" y="7870"/>
                  </a:cubicBezTo>
                  <a:lnTo>
                    <a:pt x="141774" y="416640"/>
                  </a:lnTo>
                  <a:cubicBezTo>
                    <a:pt x="223566" y="417548"/>
                    <a:pt x="302632" y="430266"/>
                    <a:pt x="378063" y="452975"/>
                  </a:cubicBezTo>
                  <a:close/>
                </a:path>
              </a:pathLst>
            </a:custGeom>
            <a:solidFill>
              <a:srgbClr val="702E8C"/>
            </a:solidFill>
            <a:ln w="906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CE69460-6C1F-C905-77B5-273C2020C1D0}"/>
                </a:ext>
              </a:extLst>
            </p:cNvPr>
            <p:cNvSpPr/>
            <p:nvPr userDrawn="1"/>
          </p:nvSpPr>
          <p:spPr>
            <a:xfrm>
              <a:off x="-1021846" y="1277469"/>
              <a:ext cx="776119" cy="581361"/>
            </a:xfrm>
            <a:custGeom>
              <a:avLst/>
              <a:gdLst>
                <a:gd name="connsiteX0" fmla="*/ 2726 w 776119"/>
                <a:gd name="connsiteY0" fmla="*/ 0 h 581361"/>
                <a:gd name="connsiteX1" fmla="*/ 0 w 776119"/>
                <a:gd name="connsiteY1" fmla="*/ 117181 h 581361"/>
                <a:gd name="connsiteX2" fmla="*/ 438953 w 776119"/>
                <a:gd name="connsiteY2" fmla="*/ 574094 h 581361"/>
                <a:gd name="connsiteX3" fmla="*/ 776120 w 776119"/>
                <a:gd name="connsiteY3" fmla="*/ 581361 h 581361"/>
                <a:gd name="connsiteX4" fmla="*/ 617988 w 776119"/>
                <a:gd name="connsiteY4" fmla="*/ 201660 h 581361"/>
                <a:gd name="connsiteX5" fmla="*/ 408963 w 776119"/>
                <a:gd name="connsiteY5" fmla="*/ 274330 h 581361"/>
                <a:gd name="connsiteX6" fmla="*/ 2726 w 776119"/>
                <a:gd name="connsiteY6" fmla="*/ 0 h 58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19" h="581361">
                  <a:moveTo>
                    <a:pt x="2726" y="0"/>
                  </a:moveTo>
                  <a:lnTo>
                    <a:pt x="0" y="117181"/>
                  </a:lnTo>
                  <a:cubicBezTo>
                    <a:pt x="209934" y="190759"/>
                    <a:pt x="373519" y="361534"/>
                    <a:pt x="438953" y="574094"/>
                  </a:cubicBezTo>
                  <a:lnTo>
                    <a:pt x="776120" y="581361"/>
                  </a:lnTo>
                  <a:cubicBezTo>
                    <a:pt x="749765" y="445105"/>
                    <a:pt x="696145" y="316115"/>
                    <a:pt x="617988" y="201660"/>
                  </a:cubicBezTo>
                  <a:lnTo>
                    <a:pt x="408963" y="274330"/>
                  </a:lnTo>
                  <a:cubicBezTo>
                    <a:pt x="302632" y="142615"/>
                    <a:pt x="160859" y="48144"/>
                    <a:pt x="2726" y="0"/>
                  </a:cubicBezTo>
                  <a:close/>
                </a:path>
              </a:pathLst>
            </a:custGeom>
            <a:solidFill>
              <a:srgbClr val="FFC713"/>
            </a:solidFill>
            <a:ln w="906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364973-F886-103B-1EF4-AF79DE69B955}"/>
                </a:ext>
              </a:extLst>
            </p:cNvPr>
            <p:cNvSpPr/>
            <p:nvPr userDrawn="1"/>
          </p:nvSpPr>
          <p:spPr>
            <a:xfrm>
              <a:off x="-1019120" y="1057641"/>
              <a:ext cx="614352" cy="494157"/>
            </a:xfrm>
            <a:custGeom>
              <a:avLst/>
              <a:gdLst>
                <a:gd name="connsiteX0" fmla="*/ 4544 w 614352"/>
                <a:gd name="connsiteY0" fmla="*/ 0 h 494157"/>
                <a:gd name="connsiteX1" fmla="*/ 0 w 614352"/>
                <a:gd name="connsiteY1" fmla="*/ 219827 h 494157"/>
                <a:gd name="connsiteX2" fmla="*/ 405327 w 614352"/>
                <a:gd name="connsiteY2" fmla="*/ 494157 h 494157"/>
                <a:gd name="connsiteX3" fmla="*/ 614353 w 614352"/>
                <a:gd name="connsiteY3" fmla="*/ 421487 h 494157"/>
                <a:gd name="connsiteX4" fmla="*/ 506205 w 614352"/>
                <a:gd name="connsiteY4" fmla="*/ 287956 h 494157"/>
                <a:gd name="connsiteX5" fmla="*/ 4544 w 614352"/>
                <a:gd name="connsiteY5" fmla="*/ 0 h 49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352" h="494157">
                  <a:moveTo>
                    <a:pt x="4544" y="0"/>
                  </a:moveTo>
                  <a:lnTo>
                    <a:pt x="0" y="219827"/>
                  </a:lnTo>
                  <a:cubicBezTo>
                    <a:pt x="158132" y="267971"/>
                    <a:pt x="299906" y="362442"/>
                    <a:pt x="405327" y="494157"/>
                  </a:cubicBezTo>
                  <a:lnTo>
                    <a:pt x="614353" y="421487"/>
                  </a:lnTo>
                  <a:cubicBezTo>
                    <a:pt x="582544" y="374251"/>
                    <a:pt x="546192" y="329741"/>
                    <a:pt x="506205" y="287956"/>
                  </a:cubicBezTo>
                  <a:cubicBezTo>
                    <a:pt x="368066" y="143524"/>
                    <a:pt x="194484" y="44510"/>
                    <a:pt x="4544" y="0"/>
                  </a:cubicBezTo>
                  <a:close/>
                </a:path>
              </a:pathLst>
            </a:custGeom>
            <a:solidFill>
              <a:srgbClr val="DF4726"/>
            </a:solidFill>
            <a:ln w="9067" cap="flat">
              <a:noFill/>
              <a:prstDash val="solid"/>
              <a:miter/>
            </a:ln>
          </p:spPr>
          <p:txBody>
            <a:bodyPr rtlCol="0" anchor="ctr"/>
            <a:lstStyle/>
            <a:p>
              <a:endParaRPr lang="en-US"/>
            </a:p>
          </p:txBody>
        </p:sp>
      </p:grpSp>
      <p:cxnSp>
        <p:nvCxnSpPr>
          <p:cNvPr id="20" name="Straight Connector 19">
            <a:extLst>
              <a:ext uri="{FF2B5EF4-FFF2-40B4-BE49-F238E27FC236}">
                <a16:creationId xmlns:a16="http://schemas.microsoft.com/office/drawing/2014/main" id="{CBC85E2D-EB26-C19D-F516-94161C1CE53E}"/>
              </a:ext>
            </a:extLst>
          </p:cNvPr>
          <p:cNvCxnSpPr>
            <a:cxnSpLocks/>
          </p:cNvCxnSpPr>
          <p:nvPr/>
        </p:nvCxnSpPr>
        <p:spPr>
          <a:xfrm flipH="1">
            <a:off x="0" y="7007305"/>
            <a:ext cx="324911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5511484-72B2-6000-0B8D-9B0AD54B8F4B}"/>
              </a:ext>
            </a:extLst>
          </p:cNvPr>
          <p:cNvCxnSpPr>
            <a:cxnSpLocks/>
          </p:cNvCxnSpPr>
          <p:nvPr userDrawn="1"/>
        </p:nvCxnSpPr>
        <p:spPr>
          <a:xfrm flipH="1">
            <a:off x="0" y="7591656"/>
            <a:ext cx="324911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3F403C-1422-EC11-6D5B-9345BB047618}"/>
              </a:ext>
            </a:extLst>
          </p:cNvPr>
          <p:cNvCxnSpPr>
            <a:cxnSpLocks/>
          </p:cNvCxnSpPr>
          <p:nvPr userDrawn="1"/>
        </p:nvCxnSpPr>
        <p:spPr>
          <a:xfrm flipH="1">
            <a:off x="0" y="8157297"/>
            <a:ext cx="324911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fik 63">
            <a:extLst>
              <a:ext uri="{FF2B5EF4-FFF2-40B4-BE49-F238E27FC236}">
                <a16:creationId xmlns:a16="http://schemas.microsoft.com/office/drawing/2014/main" id="{ED780EA4-4BED-30E6-846F-A73D24AB96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1807" y="9776993"/>
            <a:ext cx="710453" cy="256194"/>
          </a:xfrm>
          <a:prstGeom prst="rect">
            <a:avLst/>
          </a:prstGeom>
        </p:spPr>
      </p:pic>
      <p:sp>
        <p:nvSpPr>
          <p:cNvPr id="17" name="TextBox 16">
            <a:extLst>
              <a:ext uri="{FF2B5EF4-FFF2-40B4-BE49-F238E27FC236}">
                <a16:creationId xmlns:a16="http://schemas.microsoft.com/office/drawing/2014/main" id="{B7345F01-91DD-56C5-6D1A-384378E3EFD9}"/>
              </a:ext>
            </a:extLst>
          </p:cNvPr>
          <p:cNvSpPr txBox="1"/>
          <p:nvPr/>
        </p:nvSpPr>
        <p:spPr>
          <a:xfrm>
            <a:off x="595411" y="9837864"/>
            <a:ext cx="3460376" cy="1692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500" dirty="0">
                <a:solidFill>
                  <a:schemeClr val="tx1"/>
                </a:solidFill>
                <a:effectLst/>
                <a:latin typeface="Calibri" panose="020F0502020204030204" pitchFamily="34" charset="0"/>
                <a:ea typeface="Yrsa-Regular"/>
                <a:cs typeface="Calibri" panose="020F0502020204030204" pitchFamily="34" charset="0"/>
              </a:rPr>
              <a:t>This resource is licensed under CC BY 4.0</a:t>
            </a:r>
            <a:endParaRPr lang="en-BA" sz="5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9" name="Graphic 3">
            <a:extLst>
              <a:ext uri="{FF2B5EF4-FFF2-40B4-BE49-F238E27FC236}">
                <a16:creationId xmlns:a16="http://schemas.microsoft.com/office/drawing/2014/main" id="{987DE0D7-DDA8-0CA7-9A1D-CCC1598C38BE}"/>
              </a:ext>
            </a:extLst>
          </p:cNvPr>
          <p:cNvGrpSpPr/>
          <p:nvPr/>
        </p:nvGrpSpPr>
        <p:grpSpPr>
          <a:xfrm>
            <a:off x="5143803" y="9584055"/>
            <a:ext cx="426164" cy="385875"/>
            <a:chOff x="-1196056" y="2499889"/>
            <a:chExt cx="850463" cy="851093"/>
          </a:xfrm>
        </p:grpSpPr>
        <p:sp>
          <p:nvSpPr>
            <p:cNvPr id="23" name="Freeform 15">
              <a:hlinkClick r:id="rId4"/>
              <a:extLst>
                <a:ext uri="{FF2B5EF4-FFF2-40B4-BE49-F238E27FC236}">
                  <a16:creationId xmlns:a16="http://schemas.microsoft.com/office/drawing/2014/main" id="{A1E5BFDE-07BA-7931-5B0D-DBC6485012CB}"/>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0E72B5"/>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4" name="Freeform 16">
              <a:extLst>
                <a:ext uri="{FF2B5EF4-FFF2-40B4-BE49-F238E27FC236}">
                  <a16:creationId xmlns:a16="http://schemas.microsoft.com/office/drawing/2014/main" id="{1B1C05AE-9426-46F6-D98F-33D4C0859DBF}"/>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44" name="Group 43">
            <a:extLst>
              <a:ext uri="{FF2B5EF4-FFF2-40B4-BE49-F238E27FC236}">
                <a16:creationId xmlns:a16="http://schemas.microsoft.com/office/drawing/2014/main" id="{8AED6A42-DAF7-294A-4667-8186257B20FF}"/>
              </a:ext>
            </a:extLst>
          </p:cNvPr>
          <p:cNvGrpSpPr/>
          <p:nvPr/>
        </p:nvGrpSpPr>
        <p:grpSpPr>
          <a:xfrm>
            <a:off x="5608340" y="9572773"/>
            <a:ext cx="426163" cy="424160"/>
            <a:chOff x="5908590" y="9619516"/>
            <a:chExt cx="280634" cy="280634"/>
          </a:xfrm>
        </p:grpSpPr>
        <p:sp>
          <p:nvSpPr>
            <p:cNvPr id="45" name="Freeform 20">
              <a:hlinkClick r:id="rId5"/>
              <a:extLst>
                <a:ext uri="{FF2B5EF4-FFF2-40B4-BE49-F238E27FC236}">
                  <a16:creationId xmlns:a16="http://schemas.microsoft.com/office/drawing/2014/main" id="{D3FD696E-A1A6-2E5C-10F8-368AF9FAADF0}"/>
                </a:ext>
              </a:extLst>
            </p:cNvPr>
            <p:cNvSpPr/>
            <p:nvPr/>
          </p:nvSpPr>
          <p:spPr>
            <a:xfrm>
              <a:off x="5908590" y="9619516"/>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0E72B5"/>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6" name="Graphic 45" descr="World with solid fill">
              <a:extLst>
                <a:ext uri="{FF2B5EF4-FFF2-40B4-BE49-F238E27FC236}">
                  <a16:creationId xmlns:a16="http://schemas.microsoft.com/office/drawing/2014/main" id="{E28D007E-858E-9250-EED0-61FF3C9287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3764" y="9635962"/>
              <a:ext cx="246077" cy="246077"/>
            </a:xfrm>
            <a:prstGeom prst="rect">
              <a:avLst/>
            </a:prstGeom>
          </p:spPr>
        </p:pic>
      </p:grpSp>
      <p:pic>
        <p:nvPicPr>
          <p:cNvPr id="47" name="Picture 2" descr="Image result for linkedin logo round | ? logo, Marketing method, Photoshop  design">
            <a:hlinkClick r:id="rId8"/>
            <a:extLst>
              <a:ext uri="{FF2B5EF4-FFF2-40B4-BE49-F238E27FC236}">
                <a16:creationId xmlns:a16="http://schemas.microsoft.com/office/drawing/2014/main" id="{D4A7941F-0C55-0FCC-204F-6AAB33824B2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28112" y="9473772"/>
            <a:ext cx="601147" cy="60114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0B05C5D-1843-187F-C8BC-07CC31FE67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65726" y="430023"/>
            <a:ext cx="1905000" cy="32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49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9D7F049-CB8A-654D-B2FE-2264757665A4}"/>
              </a:ext>
            </a:extLst>
          </p:cNvPr>
          <p:cNvSpPr>
            <a:spLocks noGrp="1"/>
          </p:cNvSpPr>
          <p:nvPr>
            <p:ph type="sldNum" sz="quarter" idx="4"/>
          </p:nvPr>
        </p:nvSpPr>
        <p:spPr/>
        <p:txBody>
          <a:bodyPr/>
          <a:lstStyle/>
          <a:p>
            <a:fld id="{CB2079F2-58AF-ED44-82D7-E04B2F6FD686}" type="slidenum">
              <a:rPr lang="en-US" smtClean="0"/>
              <a:pPr/>
              <a:t>2</a:t>
            </a:fld>
            <a:endParaRPr lang="en-US" dirty="0"/>
          </a:p>
        </p:txBody>
      </p:sp>
      <p:sp>
        <p:nvSpPr>
          <p:cNvPr id="11" name="Text Placeholder 10">
            <a:extLst>
              <a:ext uri="{FF2B5EF4-FFF2-40B4-BE49-F238E27FC236}">
                <a16:creationId xmlns:a16="http://schemas.microsoft.com/office/drawing/2014/main" id="{28926B94-501C-744D-B7B9-42DD7C6583F1}"/>
              </a:ext>
            </a:extLst>
          </p:cNvPr>
          <p:cNvSpPr>
            <a:spLocks noGrp="1"/>
          </p:cNvSpPr>
          <p:nvPr>
            <p:ph type="body" sz="quarter" idx="30"/>
          </p:nvPr>
        </p:nvSpPr>
        <p:spPr>
          <a:xfrm>
            <a:off x="765328" y="627587"/>
            <a:ext cx="5278480" cy="662358"/>
          </a:xfrm>
        </p:spPr>
        <p:txBody>
          <a:bodyPr/>
          <a:lstStyle/>
          <a:p>
            <a:r>
              <a:rPr lang="en-US" dirty="0"/>
              <a:t>Family-friendliness in the family business</a:t>
            </a:r>
          </a:p>
        </p:txBody>
      </p:sp>
      <p:sp>
        <p:nvSpPr>
          <p:cNvPr id="9" name="Text Placeholder 8">
            <a:extLst>
              <a:ext uri="{FF2B5EF4-FFF2-40B4-BE49-F238E27FC236}">
                <a16:creationId xmlns:a16="http://schemas.microsoft.com/office/drawing/2014/main" id="{0C77B4BE-74D7-994B-AA46-4BFF6A2566BF}"/>
              </a:ext>
            </a:extLst>
          </p:cNvPr>
          <p:cNvSpPr>
            <a:spLocks noGrp="1"/>
          </p:cNvSpPr>
          <p:nvPr>
            <p:ph type="body" sz="quarter" idx="33"/>
          </p:nvPr>
        </p:nvSpPr>
        <p:spPr>
          <a:xfrm>
            <a:off x="765328" y="1289945"/>
            <a:ext cx="6593713" cy="1234447"/>
          </a:xfrm>
        </p:spPr>
        <p:txBody>
          <a:bodyPr/>
          <a:lstStyle/>
          <a:p>
            <a:r>
              <a:rPr lang="en-US" dirty="0"/>
              <a:t>‘As a family business, it is particularly important to us to make it easier for our employees to reconcile their family and professional lives. We want them to feel comfortable. That's why we place a high value on an employee-oriented corporate culture.’</a:t>
            </a:r>
            <a:br>
              <a:rPr lang="en-US" dirty="0"/>
            </a:br>
            <a:r>
              <a:rPr lang="en-US" dirty="0"/>
              <a:t>Justus </a:t>
            </a:r>
            <a:r>
              <a:rPr lang="en-US" dirty="0" err="1"/>
              <a:t>Perschmann</a:t>
            </a:r>
            <a:r>
              <a:rPr lang="en-US" dirty="0"/>
              <a:t>, managing shareholder</a:t>
            </a:r>
          </a:p>
        </p:txBody>
      </p:sp>
      <p:sp>
        <p:nvSpPr>
          <p:cNvPr id="8" name="Text Placeholder 7">
            <a:extLst>
              <a:ext uri="{FF2B5EF4-FFF2-40B4-BE49-F238E27FC236}">
                <a16:creationId xmlns:a16="http://schemas.microsoft.com/office/drawing/2014/main" id="{4FFF0C2C-D061-674F-905F-3EEFBC209A71}"/>
              </a:ext>
            </a:extLst>
          </p:cNvPr>
          <p:cNvSpPr>
            <a:spLocks noGrp="1"/>
          </p:cNvSpPr>
          <p:nvPr>
            <p:ph type="body" sz="quarter" idx="32"/>
          </p:nvPr>
        </p:nvSpPr>
        <p:spPr>
          <a:xfrm>
            <a:off x="263237" y="3186749"/>
            <a:ext cx="6968836" cy="3449577"/>
          </a:xfrm>
        </p:spPr>
        <p:txBody>
          <a:bodyPr>
            <a:normAutofit lnSpcReduction="10000"/>
          </a:bodyPr>
          <a:lstStyle/>
          <a:p>
            <a:pPr>
              <a:lnSpc>
                <a:spcPct val="110000"/>
              </a:lnSpc>
              <a:spcAft>
                <a:spcPts val="800"/>
              </a:spcAft>
            </a:pPr>
            <a:r>
              <a:rPr lang="en-GB" sz="1200" dirty="0">
                <a:effectLst/>
                <a:ea typeface="Aptos" panose="020B0004020202020204" pitchFamily="34" charset="0"/>
              </a:rPr>
              <a:t>Diversity practices at </a:t>
            </a:r>
            <a:r>
              <a:rPr lang="en-GB" sz="1200" dirty="0" err="1">
                <a:effectLst/>
                <a:ea typeface="Aptos" panose="020B0004020202020204" pitchFamily="34" charset="0"/>
              </a:rPr>
              <a:t>Hch</a:t>
            </a:r>
            <a:r>
              <a:rPr lang="en-GB" sz="1200" dirty="0">
                <a:effectLst/>
                <a:ea typeface="Aptos" panose="020B0004020202020204" pitchFamily="34" charset="0"/>
              </a:rPr>
              <a:t>. </a:t>
            </a:r>
            <a:r>
              <a:rPr lang="en-GB" sz="1200" dirty="0" err="1">
                <a:effectLst/>
                <a:ea typeface="Aptos" panose="020B0004020202020204" pitchFamily="34" charset="0"/>
              </a:rPr>
              <a:t>Perschmann</a:t>
            </a:r>
            <a:r>
              <a:rPr lang="en-GB" sz="1200" dirty="0">
                <a:effectLst/>
                <a:ea typeface="Aptos" panose="020B0004020202020204" pitchFamily="34" charset="0"/>
              </a:rPr>
              <a:t> GmbH encompass a spectrum of initiatives:</a:t>
            </a:r>
            <a:endParaRPr lang="de-DE" sz="1200" dirty="0">
              <a:effectLst/>
              <a:ea typeface="Aptos" panose="020B0004020202020204" pitchFamily="34" charset="0"/>
            </a:endParaRPr>
          </a:p>
          <a:p>
            <a:pPr marL="171450" indent="-171450">
              <a:lnSpc>
                <a:spcPct val="110000"/>
              </a:lnSpc>
              <a:spcAft>
                <a:spcPts val="800"/>
              </a:spcAft>
              <a:buFont typeface="Arial" panose="020B0604020202020204" pitchFamily="34" charset="0"/>
              <a:buChar char="•"/>
            </a:pPr>
            <a:r>
              <a:rPr lang="en-GB" sz="1200" b="1" dirty="0">
                <a:effectLst/>
                <a:ea typeface="Aptos" panose="020B0004020202020204" pitchFamily="34" charset="0"/>
              </a:rPr>
              <a:t>Flexible Work Arrangements</a:t>
            </a:r>
            <a:r>
              <a:rPr lang="en-GB" sz="1200" dirty="0">
                <a:effectLst/>
                <a:ea typeface="Aptos" panose="020B0004020202020204" pitchFamily="34" charset="0"/>
              </a:rPr>
              <a:t>: Understanding the diverse needs of their employees, the company introduced adaptable work hours and remote work options, empowering individuals to manage their schedules efficiently.</a:t>
            </a:r>
            <a:endParaRPr lang="de-DE" sz="1200" dirty="0">
              <a:effectLst/>
              <a:ea typeface="Aptos" panose="020B0004020202020204" pitchFamily="34" charset="0"/>
            </a:endParaRPr>
          </a:p>
          <a:p>
            <a:pPr marL="171450" indent="-171450">
              <a:lnSpc>
                <a:spcPct val="110000"/>
              </a:lnSpc>
              <a:spcAft>
                <a:spcPts val="800"/>
              </a:spcAft>
              <a:buFont typeface="Arial" panose="020B0604020202020204" pitchFamily="34" charset="0"/>
              <a:buChar char="•"/>
            </a:pPr>
            <a:r>
              <a:rPr lang="en-GB" sz="1200" b="1" dirty="0">
                <a:effectLst/>
                <a:ea typeface="Aptos" panose="020B0004020202020204" pitchFamily="34" charset="0"/>
              </a:rPr>
              <a:t>Support Programs</a:t>
            </a:r>
            <a:r>
              <a:rPr lang="en-GB" sz="1200" dirty="0">
                <a:effectLst/>
                <a:ea typeface="Aptos" panose="020B0004020202020204" pitchFamily="34" charset="0"/>
              </a:rPr>
              <a:t>: Recognizing the significance of life events, the company extends financial support to employees getting married, entering partnerships, or welcoming newborns. Substantial contributions towards childcare costs up to the child's 6th birthday and subsidies for holiday childcare alleviate financial burdens.</a:t>
            </a:r>
            <a:endParaRPr lang="de-DE" sz="1200" dirty="0">
              <a:effectLst/>
              <a:ea typeface="Aptos" panose="020B0004020202020204" pitchFamily="34" charset="0"/>
            </a:endParaRPr>
          </a:p>
          <a:p>
            <a:pPr marL="171450" indent="-171450">
              <a:lnSpc>
                <a:spcPct val="110000"/>
              </a:lnSpc>
              <a:spcAft>
                <a:spcPts val="800"/>
              </a:spcAft>
              <a:buFont typeface="Arial" panose="020B0604020202020204" pitchFamily="34" charset="0"/>
              <a:buChar char="•"/>
            </a:pPr>
            <a:r>
              <a:rPr lang="en-GB" sz="1200" b="1" dirty="0">
                <a:effectLst/>
                <a:ea typeface="Aptos" panose="020B0004020202020204" pitchFamily="34" charset="0"/>
              </a:rPr>
              <a:t>Employee-Centric Facilities</a:t>
            </a:r>
            <a:r>
              <a:rPr lang="en-GB" sz="1200" dirty="0">
                <a:effectLst/>
                <a:ea typeface="Aptos" panose="020B0004020202020204" pitchFamily="34" charset="0"/>
              </a:rPr>
              <a:t>: A dedicated parent-child office ensures seamless work commitments for employees facing sudden childcare cancellations, minimizing disruptions.</a:t>
            </a:r>
            <a:endParaRPr lang="de-DE" sz="1200" dirty="0">
              <a:effectLst/>
              <a:ea typeface="Aptos" panose="020B0004020202020204" pitchFamily="34" charset="0"/>
            </a:endParaRPr>
          </a:p>
          <a:p>
            <a:pPr marL="171450" indent="-171450">
              <a:lnSpc>
                <a:spcPct val="110000"/>
              </a:lnSpc>
              <a:spcAft>
                <a:spcPts val="800"/>
              </a:spcAft>
              <a:buFont typeface="Arial" panose="020B0604020202020204" pitchFamily="34" charset="0"/>
              <a:buChar char="•"/>
            </a:pPr>
            <a:r>
              <a:rPr lang="en-GB" sz="1200" b="1" dirty="0">
                <a:effectLst/>
                <a:ea typeface="Aptos" panose="020B0004020202020204" pitchFamily="34" charset="0"/>
              </a:rPr>
              <a:t>Cohesion Building</a:t>
            </a:r>
            <a:r>
              <a:rPr lang="en-GB" sz="1200" dirty="0">
                <a:effectLst/>
                <a:ea typeface="Aptos" panose="020B0004020202020204" pitchFamily="34" charset="0"/>
              </a:rPr>
              <a:t>: Inclusive events like summer and Christmas parties include colleagues on parental leave, fostering a strong sense of community. Additionally, structured mentoring and informative materials on maternity and parental leave engage employees during their time away.</a:t>
            </a:r>
            <a:endParaRPr lang="de-DE" sz="1200" dirty="0">
              <a:effectLst/>
              <a:ea typeface="Aptos" panose="020B0004020202020204" pitchFamily="34" charset="0"/>
            </a:endParaRPr>
          </a:p>
          <a:p>
            <a:pPr marL="171450" indent="-171450">
              <a:lnSpc>
                <a:spcPct val="110000"/>
              </a:lnSpc>
              <a:spcAft>
                <a:spcPts val="800"/>
              </a:spcAft>
              <a:buFont typeface="Arial" panose="020B0604020202020204" pitchFamily="34" charset="0"/>
              <a:buChar char="•"/>
            </a:pPr>
            <a:r>
              <a:rPr lang="en-GB" sz="1200" b="1" dirty="0">
                <a:effectLst/>
                <a:ea typeface="Aptos" panose="020B0004020202020204" pitchFamily="34" charset="0"/>
              </a:rPr>
              <a:t>Culinary Well-being</a:t>
            </a:r>
            <a:r>
              <a:rPr lang="en-GB" sz="1200" dirty="0">
                <a:effectLst/>
                <a:ea typeface="Aptos" panose="020B0004020202020204" pitchFamily="34" charset="0"/>
              </a:rPr>
              <a:t>: The company's modern restaurant offers discounted, delicious meals daily, allowing employees to take home meals for their families. Furthermore, the restaurant is available for private events on weekends or public holidays, strengthening bonds beyond the workspace.</a:t>
            </a:r>
            <a:endParaRPr lang="de-DE" sz="1200" dirty="0">
              <a:effectLst/>
              <a:ea typeface="Aptos" panose="020B0004020202020204" pitchFamily="34" charset="0"/>
            </a:endParaRPr>
          </a:p>
        </p:txBody>
      </p:sp>
      <p:pic>
        <p:nvPicPr>
          <p:cNvPr id="20" name="Picture Placeholder 19">
            <a:extLst>
              <a:ext uri="{FF2B5EF4-FFF2-40B4-BE49-F238E27FC236}">
                <a16:creationId xmlns:a16="http://schemas.microsoft.com/office/drawing/2014/main" id="{8BF7CA08-B286-CD8E-5027-3C548B0262AA}"/>
              </a:ext>
            </a:extLst>
          </p:cNvPr>
          <p:cNvPicPr>
            <a:picLocks noGrp="1" noChangeAspect="1"/>
          </p:cNvPicPr>
          <p:nvPr>
            <p:ph type="pic" sz="quarter" idx="13"/>
          </p:nvPr>
        </p:nvPicPr>
        <p:blipFill>
          <a:blip r:embed="rId2"/>
          <a:srcRect l="18071" r="18071"/>
          <a:stretch>
            <a:fillRect/>
          </a:stretch>
        </p:blipFill>
        <p:spPr/>
      </p:pic>
    </p:spTree>
    <p:extLst>
      <p:ext uri="{BB962C8B-B14F-4D97-AF65-F5344CB8AC3E}">
        <p14:creationId xmlns:p14="http://schemas.microsoft.com/office/powerpoint/2010/main" val="345910585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6B3F2D-07AF-6216-9C24-FE242517DE22}"/>
              </a:ext>
            </a:extLst>
          </p:cNvPr>
          <p:cNvSpPr>
            <a:spLocks noGrp="1"/>
          </p:cNvSpPr>
          <p:nvPr>
            <p:ph type="body" sz="quarter" idx="30"/>
          </p:nvPr>
        </p:nvSpPr>
        <p:spPr/>
        <p:txBody>
          <a:bodyPr/>
          <a:lstStyle/>
          <a:p>
            <a:r>
              <a:rPr lang="en-US" dirty="0"/>
              <a:t>Certified Strategies and Achievements</a:t>
            </a:r>
          </a:p>
        </p:txBody>
      </p:sp>
      <p:sp>
        <p:nvSpPr>
          <p:cNvPr id="8" name="Text Placeholder 7">
            <a:extLst>
              <a:ext uri="{FF2B5EF4-FFF2-40B4-BE49-F238E27FC236}">
                <a16:creationId xmlns:a16="http://schemas.microsoft.com/office/drawing/2014/main" id="{37883FFF-D02F-AD23-B7C4-318C030DEBD5}"/>
              </a:ext>
            </a:extLst>
          </p:cNvPr>
          <p:cNvSpPr>
            <a:spLocks noGrp="1"/>
          </p:cNvSpPr>
          <p:nvPr>
            <p:ph type="body" sz="quarter" idx="42"/>
          </p:nvPr>
        </p:nvSpPr>
        <p:spPr>
          <a:xfrm>
            <a:off x="503237" y="5345906"/>
            <a:ext cx="3431454" cy="4414479"/>
          </a:xfrm>
        </p:spPr>
        <p:txBody>
          <a:bodyPr/>
          <a:lstStyle/>
          <a:p>
            <a:pPr>
              <a:lnSpc>
                <a:spcPct val="100000"/>
              </a:lnSpc>
            </a:pPr>
            <a:r>
              <a:rPr lang="en-US" sz="1200" dirty="0"/>
              <a:t>The company's dedication to employee engagement is unmistakably evident through its high utilization and success of family-friendly benefits, which significantly contribute to fostering a positive work-life balance within the workforce. This commitment to creating an inclusive and supportive work environment has been formally acknowledged through external validation, notably earning certification by the Demography Agency as a '</a:t>
            </a:r>
            <a:r>
              <a:rPr lang="en-US" sz="1200" dirty="0" err="1"/>
              <a:t>Demografiefest</a:t>
            </a:r>
            <a:r>
              <a:rPr lang="en-US" sz="1200" dirty="0"/>
              <a:t>. </a:t>
            </a:r>
            <a:r>
              <a:rPr lang="en-US" sz="1200" dirty="0" err="1"/>
              <a:t>Sozialpartnerschaftlicher</a:t>
            </a:r>
            <a:r>
              <a:rPr lang="en-US" sz="1200" dirty="0"/>
              <a:t> </a:t>
            </a:r>
            <a:r>
              <a:rPr lang="en-US" sz="1200" dirty="0" err="1"/>
              <a:t>Betrieb</a:t>
            </a:r>
            <a:r>
              <a:rPr lang="en-US" sz="1200" dirty="0"/>
              <a:t>.’ </a:t>
            </a:r>
          </a:p>
          <a:p>
            <a:pPr>
              <a:lnSpc>
                <a:spcPct val="100000"/>
              </a:lnSpc>
            </a:pPr>
            <a:endParaRPr lang="en-US" sz="1200" dirty="0"/>
          </a:p>
          <a:p>
            <a:pPr>
              <a:lnSpc>
                <a:spcPct val="100000"/>
              </a:lnSpc>
            </a:pPr>
            <a:r>
              <a:rPr lang="en-US" sz="1200" dirty="0"/>
              <a:t>Such recognition not only validates the company's ethos but is further reinforced through subsequent recertifications, emphasizing its ongoing dedication. Moreover, the company's unwavering focus on employee well-being has garnered cultural accolades, notably being acknowledged in the 'Company Eating Culture' competition. This accolade stands as a testament to their holistic dedication to nurturing both the personal and professional aspects of their employees' lives.</a:t>
            </a:r>
          </a:p>
          <a:p>
            <a:endParaRPr lang="en-US" dirty="0"/>
          </a:p>
        </p:txBody>
      </p:sp>
      <p:sp>
        <p:nvSpPr>
          <p:cNvPr id="9" name="Text Placeholder 8">
            <a:extLst>
              <a:ext uri="{FF2B5EF4-FFF2-40B4-BE49-F238E27FC236}">
                <a16:creationId xmlns:a16="http://schemas.microsoft.com/office/drawing/2014/main" id="{C4C713E2-4B91-F92F-F59D-461F79D222F9}"/>
              </a:ext>
            </a:extLst>
          </p:cNvPr>
          <p:cNvSpPr>
            <a:spLocks noGrp="1"/>
          </p:cNvSpPr>
          <p:nvPr>
            <p:ph type="body" sz="quarter" idx="44"/>
          </p:nvPr>
        </p:nvSpPr>
        <p:spPr>
          <a:xfrm>
            <a:off x="3963488" y="5359294"/>
            <a:ext cx="3284412" cy="4414480"/>
          </a:xfrm>
        </p:spPr>
        <p:txBody>
          <a:bodyPr/>
          <a:lstStyle/>
          <a:p>
            <a:pPr>
              <a:lnSpc>
                <a:spcPct val="100000"/>
              </a:lnSpc>
            </a:pPr>
            <a:r>
              <a:rPr lang="en-US" sz="1200" dirty="0" err="1"/>
              <a:t>Hch</a:t>
            </a:r>
            <a:r>
              <a:rPr lang="en-US" sz="1200" dirty="0"/>
              <a:t>. </a:t>
            </a:r>
            <a:r>
              <a:rPr lang="en-US" sz="1200" dirty="0" err="1"/>
              <a:t>Perschmann</a:t>
            </a:r>
            <a:r>
              <a:rPr lang="en-US" sz="1200" dirty="0"/>
              <a:t> GmbH, headquartered in Braunschweig with additional locations in Berlin and </a:t>
            </a:r>
            <a:r>
              <a:rPr lang="en-US" sz="1200" dirty="0" err="1"/>
              <a:t>Poznań</a:t>
            </a:r>
            <a:r>
              <a:rPr lang="en-US" sz="1200" dirty="0"/>
              <a:t> (Poland), stands as a reputable trading company specializing in high-quality tools, technical products, and process consulting. </a:t>
            </a:r>
          </a:p>
          <a:p>
            <a:pPr>
              <a:lnSpc>
                <a:spcPct val="100000"/>
              </a:lnSpc>
            </a:pPr>
            <a:r>
              <a:rPr lang="en-US" sz="1200" dirty="0"/>
              <a:t>Their partnership with the Hoffmann Group solidifies their industry position and reputation.</a:t>
            </a:r>
          </a:p>
          <a:p>
            <a:pPr>
              <a:lnSpc>
                <a:spcPct val="100000"/>
              </a:lnSpc>
            </a:pPr>
            <a:endParaRPr lang="en-US" sz="1200" dirty="0"/>
          </a:p>
          <a:p>
            <a:pPr>
              <a:lnSpc>
                <a:spcPct val="100000"/>
              </a:lnSpc>
            </a:pPr>
            <a:r>
              <a:rPr lang="en-US" sz="1200" dirty="0"/>
              <a:t>In conclusion, </a:t>
            </a:r>
            <a:r>
              <a:rPr lang="en-US" sz="1200" dirty="0" err="1"/>
              <a:t>Hch</a:t>
            </a:r>
            <a:r>
              <a:rPr lang="en-US" sz="1200" dirty="0"/>
              <a:t>. </a:t>
            </a:r>
            <a:r>
              <a:rPr lang="en-US" sz="1200" dirty="0" err="1"/>
              <a:t>Perschmann</a:t>
            </a:r>
            <a:r>
              <a:rPr lang="en-US" sz="1200" dirty="0"/>
              <a:t> GmbH's unwavering dedication to nurturing a family-friendly workplace mirrors their rich heritage while exemplifying a forward-thinking approach in supporting their employees. These initiatives not only foster employee loyalty but also position the company as a benchmark for inclusivity and work-life balance, propelling them toward sustained success in their industry.</a:t>
            </a:r>
          </a:p>
          <a:p>
            <a:endParaRPr lang="en-US" dirty="0"/>
          </a:p>
        </p:txBody>
      </p:sp>
      <p:sp>
        <p:nvSpPr>
          <p:cNvPr id="5" name="Slide Number Placeholder 4">
            <a:extLst>
              <a:ext uri="{FF2B5EF4-FFF2-40B4-BE49-F238E27FC236}">
                <a16:creationId xmlns:a16="http://schemas.microsoft.com/office/drawing/2014/main" id="{1CBEBC87-7EC1-8B69-D52C-C212DE88D644}"/>
              </a:ext>
            </a:extLst>
          </p:cNvPr>
          <p:cNvSpPr>
            <a:spLocks noGrp="1"/>
          </p:cNvSpPr>
          <p:nvPr>
            <p:ph type="sldNum" sz="quarter" idx="4"/>
          </p:nvPr>
        </p:nvSpPr>
        <p:spPr/>
        <p:txBody>
          <a:bodyPr/>
          <a:lstStyle/>
          <a:p>
            <a:fld id="{CB2079F2-58AF-ED44-82D7-E04B2F6FD686}" type="slidenum">
              <a:rPr lang="en-US" smtClean="0"/>
              <a:pPr/>
              <a:t>3</a:t>
            </a:fld>
            <a:endParaRPr lang="en-US" dirty="0"/>
          </a:p>
        </p:txBody>
      </p:sp>
      <p:pic>
        <p:nvPicPr>
          <p:cNvPr id="4" name="Picture Placeholder 3">
            <a:extLst>
              <a:ext uri="{FF2B5EF4-FFF2-40B4-BE49-F238E27FC236}">
                <a16:creationId xmlns:a16="http://schemas.microsoft.com/office/drawing/2014/main" id="{79582B1B-278C-97EE-9131-C5131503604C}"/>
              </a:ext>
            </a:extLst>
          </p:cNvPr>
          <p:cNvPicPr>
            <a:picLocks noGrp="1" noChangeAspect="1"/>
          </p:cNvPicPr>
          <p:nvPr>
            <p:ph type="pic" sz="quarter" idx="41"/>
          </p:nvPr>
        </p:nvPicPr>
        <p:blipFill rotWithShape="1">
          <a:blip r:embed="rId2"/>
          <a:srcRect t="10549" b="35439"/>
          <a:stretch/>
        </p:blipFill>
        <p:spPr>
          <a:xfrm>
            <a:off x="-1" y="-11581"/>
            <a:ext cx="7559675" cy="2723566"/>
          </a:xfrm>
        </p:spPr>
      </p:pic>
    </p:spTree>
    <p:extLst>
      <p:ext uri="{BB962C8B-B14F-4D97-AF65-F5344CB8AC3E}">
        <p14:creationId xmlns:p14="http://schemas.microsoft.com/office/powerpoint/2010/main" val="1127210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7F47342-8686-79B0-C246-58D44F228741}"/>
              </a:ext>
            </a:extLst>
          </p:cNvPr>
          <p:cNvGraphicFramePr>
            <a:graphicFrameLocks noChangeAspect="1"/>
          </p:cNvGraphicFramePr>
          <p:nvPr>
            <p:custDataLst>
              <p:tags r:id="rId1"/>
            </p:custDataLst>
            <p:extLst>
              <p:ext uri="{D42A27DB-BD31-4B8C-83A1-F6EECF244321}">
                <p14:modId xmlns:p14="http://schemas.microsoft.com/office/powerpoint/2010/main" val="1507088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70EBB97D-E275-8740-97D1-6B9CD5253FAB}"/>
              </a:ext>
            </a:extLst>
          </p:cNvPr>
          <p:cNvSpPr>
            <a:spLocks noGrp="1"/>
          </p:cNvSpPr>
          <p:nvPr>
            <p:ph type="body" sz="quarter" idx="18"/>
          </p:nvPr>
        </p:nvSpPr>
        <p:spPr>
          <a:noFill/>
        </p:spPr>
        <p:txBody>
          <a:bodyPr anchor="ctr">
            <a:normAutofit/>
          </a:bodyPr>
          <a:lstStyle/>
          <a:p>
            <a:r>
              <a:rPr lang="en-US" sz="2400" dirty="0" err="1"/>
              <a:t>www.</a:t>
            </a:r>
            <a:r>
              <a:rPr lang="en-US" sz="2400" b="1" dirty="0" err="1"/>
              <a:t>projectdare.</a:t>
            </a:r>
            <a:r>
              <a:rPr lang="en-US" sz="2400" dirty="0" err="1"/>
              <a:t>eu</a:t>
            </a:r>
            <a:endParaRPr lang="en-US" sz="2400" dirty="0"/>
          </a:p>
        </p:txBody>
      </p:sp>
      <p:sp>
        <p:nvSpPr>
          <p:cNvPr id="6" name="Text Placeholder 5">
            <a:extLst>
              <a:ext uri="{FF2B5EF4-FFF2-40B4-BE49-F238E27FC236}">
                <a16:creationId xmlns:a16="http://schemas.microsoft.com/office/drawing/2014/main" id="{F453C571-B701-2943-A877-7A4ECC41D126}"/>
              </a:ext>
            </a:extLst>
          </p:cNvPr>
          <p:cNvSpPr>
            <a:spLocks noGrp="1"/>
          </p:cNvSpPr>
          <p:nvPr>
            <p:ph type="body" sz="quarter" idx="17"/>
          </p:nvPr>
        </p:nvSpPr>
        <p:spPr/>
        <p:txBody>
          <a:bodyPr/>
          <a:lstStyle/>
          <a:p>
            <a:pPr marL="0" indent="0" defTabSz="2072941" rtl="0" eaLnBrk="1" latinLnBrk="0" hangingPunct="1">
              <a:lnSpc>
                <a:spcPct val="100000"/>
              </a:lnSpc>
              <a:spcBef>
                <a:spcPts val="2267"/>
              </a:spcBef>
              <a:buFont typeface="Arial" panose="020B0604020202020204" pitchFamily="34" charset="0"/>
              <a:buNone/>
            </a:pPr>
            <a:r>
              <a:rPr lang="en-US" dirty="0"/>
              <a:t>Follow our journey</a:t>
            </a:r>
          </a:p>
        </p:txBody>
      </p:sp>
      <p:sp>
        <p:nvSpPr>
          <p:cNvPr id="8" name="Text Placeholder 7">
            <a:extLst>
              <a:ext uri="{FF2B5EF4-FFF2-40B4-BE49-F238E27FC236}">
                <a16:creationId xmlns:a16="http://schemas.microsoft.com/office/drawing/2014/main" id="{E6C19A69-159D-E84E-9604-8FC978D0E923}"/>
              </a:ext>
            </a:extLst>
          </p:cNvPr>
          <p:cNvSpPr>
            <a:spLocks noGrp="1"/>
          </p:cNvSpPr>
          <p:nvPr>
            <p:ph type="body" sz="quarter" idx="32"/>
          </p:nvPr>
        </p:nvSpPr>
        <p:spPr>
          <a:xfrm>
            <a:off x="554560" y="3219790"/>
            <a:ext cx="6326687" cy="1811544"/>
          </a:xfrm>
        </p:spPr>
        <p:txBody>
          <a:bodyPr/>
          <a:lstStyle/>
          <a:p>
            <a:r>
              <a:rPr lang="en-US" dirty="0" err="1"/>
              <a:t>ImplementationPerschmann</a:t>
            </a:r>
            <a:r>
              <a:rPr lang="en-US" dirty="0"/>
              <a:t> wants to make it easier for its employees to reconcile their professional and private lives and is committed to a good work-life balance. By taking a comprehensive strategic approach, flexible and individually tailored working hours are made possible, offering employees flexibility in the </a:t>
            </a:r>
            <a:r>
              <a:rPr lang="en-US" dirty="0" err="1"/>
              <a:t>organisation</a:t>
            </a:r>
            <a:r>
              <a:rPr lang="en-US" dirty="0"/>
              <a:t> of their working hours as well as the opportunity to work from home and a wide range of individual part-time models.</a:t>
            </a:r>
          </a:p>
          <a:p>
            <a:r>
              <a:rPr lang="en-US" dirty="0" err="1"/>
              <a:t>Perschmann</a:t>
            </a:r>
            <a:r>
              <a:rPr lang="en-US" dirty="0"/>
              <a:t> is a signatory of the ‘Charta der </a:t>
            </a:r>
            <a:r>
              <a:rPr lang="en-US" dirty="0" err="1"/>
              <a:t>Vielfalt</a:t>
            </a:r>
            <a:r>
              <a:rPr lang="en-US" dirty="0"/>
              <a:t>’ (English: Diversity Charter) - a German business initiative with the aim of anchoring diversity in business and society. Find out more about </a:t>
            </a:r>
            <a:r>
              <a:rPr lang="en-US" dirty="0" err="1"/>
              <a:t>Perschmann's</a:t>
            </a:r>
            <a:r>
              <a:rPr lang="en-US" dirty="0"/>
              <a:t> approach here:</a:t>
            </a:r>
          </a:p>
        </p:txBody>
      </p:sp>
      <p:pic>
        <p:nvPicPr>
          <p:cNvPr id="10" name="Grafik 63">
            <a:extLst>
              <a:ext uri="{FF2B5EF4-FFF2-40B4-BE49-F238E27FC236}">
                <a16:creationId xmlns:a16="http://schemas.microsoft.com/office/drawing/2014/main" id="{02B35A59-1B7E-960D-C6F5-09068A181B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69316" y="9839486"/>
            <a:ext cx="710453" cy="256194"/>
          </a:xfrm>
          <a:prstGeom prst="rect">
            <a:avLst/>
          </a:prstGeom>
        </p:spPr>
      </p:pic>
      <p:sp>
        <p:nvSpPr>
          <p:cNvPr id="12" name="TextBox 11">
            <a:extLst>
              <a:ext uri="{FF2B5EF4-FFF2-40B4-BE49-F238E27FC236}">
                <a16:creationId xmlns:a16="http://schemas.microsoft.com/office/drawing/2014/main" id="{707B6ADE-46D0-EC5B-DBFE-0DACF8358AE7}"/>
              </a:ext>
            </a:extLst>
          </p:cNvPr>
          <p:cNvSpPr txBox="1"/>
          <p:nvPr/>
        </p:nvSpPr>
        <p:spPr>
          <a:xfrm>
            <a:off x="612920" y="9900357"/>
            <a:ext cx="3460376" cy="1692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500" dirty="0">
                <a:solidFill>
                  <a:schemeClr val="tx1"/>
                </a:solidFill>
                <a:effectLst/>
                <a:latin typeface="Calibri" panose="020F0502020204030204" pitchFamily="34" charset="0"/>
                <a:ea typeface="Yrsa-Regular"/>
                <a:cs typeface="Calibri" panose="020F0502020204030204" pitchFamily="34" charset="0"/>
              </a:rPr>
              <a:t>This resource is licensed under CC BY 4.0</a:t>
            </a:r>
            <a:endParaRPr lang="en-BA" sz="5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9" name="Graphic 3">
            <a:extLst>
              <a:ext uri="{FF2B5EF4-FFF2-40B4-BE49-F238E27FC236}">
                <a16:creationId xmlns:a16="http://schemas.microsoft.com/office/drawing/2014/main" id="{08F49481-9D23-4268-984F-95176F3A591A}"/>
              </a:ext>
            </a:extLst>
          </p:cNvPr>
          <p:cNvGrpSpPr/>
          <p:nvPr/>
        </p:nvGrpSpPr>
        <p:grpSpPr>
          <a:xfrm>
            <a:off x="5189837" y="9599203"/>
            <a:ext cx="426164" cy="385875"/>
            <a:chOff x="-1196056" y="2499889"/>
            <a:chExt cx="850463" cy="851093"/>
          </a:xfrm>
        </p:grpSpPr>
        <p:sp>
          <p:nvSpPr>
            <p:cNvPr id="30" name="Freeform 15">
              <a:hlinkClick r:id="rId6"/>
              <a:extLst>
                <a:ext uri="{FF2B5EF4-FFF2-40B4-BE49-F238E27FC236}">
                  <a16:creationId xmlns:a16="http://schemas.microsoft.com/office/drawing/2014/main" id="{9BDE7C6B-375C-8C79-5D98-A0765F3D82CC}"/>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0E72B5"/>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16">
              <a:extLst>
                <a:ext uri="{FF2B5EF4-FFF2-40B4-BE49-F238E27FC236}">
                  <a16:creationId xmlns:a16="http://schemas.microsoft.com/office/drawing/2014/main" id="{42B4E1E3-1765-7332-D235-BA76B5EEB1E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oup 32">
            <a:extLst>
              <a:ext uri="{FF2B5EF4-FFF2-40B4-BE49-F238E27FC236}">
                <a16:creationId xmlns:a16="http://schemas.microsoft.com/office/drawing/2014/main" id="{3F2F2E40-54F4-8D81-106E-6A041F3894C0}"/>
              </a:ext>
            </a:extLst>
          </p:cNvPr>
          <p:cNvGrpSpPr/>
          <p:nvPr/>
        </p:nvGrpSpPr>
        <p:grpSpPr>
          <a:xfrm>
            <a:off x="5654374" y="9587921"/>
            <a:ext cx="426163" cy="424160"/>
            <a:chOff x="5908590" y="9619516"/>
            <a:chExt cx="280634" cy="280634"/>
          </a:xfrm>
        </p:grpSpPr>
        <p:sp>
          <p:nvSpPr>
            <p:cNvPr id="34" name="Freeform 20">
              <a:hlinkClick r:id="rId7"/>
              <a:extLst>
                <a:ext uri="{FF2B5EF4-FFF2-40B4-BE49-F238E27FC236}">
                  <a16:creationId xmlns:a16="http://schemas.microsoft.com/office/drawing/2014/main" id="{35C439AA-2D03-CCDF-D873-51F8649410D8}"/>
                </a:ext>
              </a:extLst>
            </p:cNvPr>
            <p:cNvSpPr/>
            <p:nvPr/>
          </p:nvSpPr>
          <p:spPr>
            <a:xfrm>
              <a:off x="5908590" y="9619516"/>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0E72B5"/>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35" name="Graphic 34" descr="World with solid fill">
              <a:extLst>
                <a:ext uri="{FF2B5EF4-FFF2-40B4-BE49-F238E27FC236}">
                  <a16:creationId xmlns:a16="http://schemas.microsoft.com/office/drawing/2014/main" id="{C2568E0E-4726-DD21-ACD4-CD4A50ABF2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23764" y="9635962"/>
              <a:ext cx="246077" cy="246077"/>
            </a:xfrm>
            <a:prstGeom prst="rect">
              <a:avLst/>
            </a:prstGeom>
          </p:spPr>
        </p:pic>
      </p:grpSp>
      <p:pic>
        <p:nvPicPr>
          <p:cNvPr id="36" name="Picture 2" descr="Image result for linkedin logo round | ? logo, Marketing method, Photoshop  design">
            <a:hlinkClick r:id="rId10"/>
            <a:extLst>
              <a:ext uri="{FF2B5EF4-FFF2-40B4-BE49-F238E27FC236}">
                <a16:creationId xmlns:a16="http://schemas.microsoft.com/office/drawing/2014/main" id="{BA97B80B-044F-9E37-D387-F8D3087124F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74146" y="9488920"/>
            <a:ext cx="601147" cy="601147"/>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a:extLst>
              <a:ext uri="{FF2B5EF4-FFF2-40B4-BE49-F238E27FC236}">
                <a16:creationId xmlns:a16="http://schemas.microsoft.com/office/drawing/2014/main" id="{25797FCA-5118-6D08-360F-8B1D86E675D4}"/>
              </a:ext>
            </a:extLst>
          </p:cNvPr>
          <p:cNvGrpSpPr/>
          <p:nvPr/>
        </p:nvGrpSpPr>
        <p:grpSpPr>
          <a:xfrm>
            <a:off x="2933194" y="5001289"/>
            <a:ext cx="4738998" cy="2867812"/>
            <a:chOff x="2933194" y="5001289"/>
            <a:chExt cx="4482214" cy="2867812"/>
          </a:xfrm>
        </p:grpSpPr>
        <p:pic>
          <p:nvPicPr>
            <p:cNvPr id="9" name="Grafik 8">
              <a:extLst>
                <a:ext uri="{FF2B5EF4-FFF2-40B4-BE49-F238E27FC236}">
                  <a16:creationId xmlns:a16="http://schemas.microsoft.com/office/drawing/2014/main" id="{ABE4A330-7C3C-87A9-8C61-2EE3DBE96A93}"/>
                </a:ext>
              </a:extLst>
            </p:cNvPr>
            <p:cNvPicPr>
              <a:picLocks noChangeAspect="1"/>
            </p:cNvPicPr>
            <p:nvPr/>
          </p:nvPicPr>
          <p:blipFill>
            <a:blip r:embed="rId12"/>
            <a:stretch>
              <a:fillRect/>
            </a:stretch>
          </p:blipFill>
          <p:spPr>
            <a:xfrm>
              <a:off x="3603103" y="5254667"/>
              <a:ext cx="3179742" cy="2042543"/>
            </a:xfrm>
            <a:prstGeom prst="rect">
              <a:avLst/>
            </a:prstGeom>
          </p:spPr>
        </p:pic>
        <p:pic>
          <p:nvPicPr>
            <p:cNvPr id="31" name="Picture 30">
              <a:extLst>
                <a:ext uri="{FF2B5EF4-FFF2-40B4-BE49-F238E27FC236}">
                  <a16:creationId xmlns:a16="http://schemas.microsoft.com/office/drawing/2014/main" id="{F8695417-59B8-C24A-A8C9-04D73D13854A}"/>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933194" y="5001289"/>
              <a:ext cx="4482214" cy="2867812"/>
            </a:xfrm>
            <a:prstGeom prst="rect">
              <a:avLst/>
            </a:prstGeom>
          </p:spPr>
        </p:pic>
      </p:grpSp>
      <p:pic>
        <p:nvPicPr>
          <p:cNvPr id="16" name="Grafik 15">
            <a:extLst>
              <a:ext uri="{FF2B5EF4-FFF2-40B4-BE49-F238E27FC236}">
                <a16:creationId xmlns:a16="http://schemas.microsoft.com/office/drawing/2014/main" id="{FCA23980-2986-3A2C-2843-4B8486F2537B}"/>
              </a:ext>
            </a:extLst>
          </p:cNvPr>
          <p:cNvPicPr>
            <a:picLocks noChangeAspect="1"/>
          </p:cNvPicPr>
          <p:nvPr/>
        </p:nvPicPr>
        <p:blipFill>
          <a:blip r:embed="rId14"/>
          <a:stretch>
            <a:fillRect/>
          </a:stretch>
        </p:blipFill>
        <p:spPr>
          <a:xfrm>
            <a:off x="288142" y="981754"/>
            <a:ext cx="4352925" cy="990600"/>
          </a:xfrm>
          <a:prstGeom prst="rect">
            <a:avLst/>
          </a:prstGeom>
        </p:spPr>
      </p:pic>
    </p:spTree>
    <p:extLst>
      <p:ext uri="{BB962C8B-B14F-4D97-AF65-F5344CB8AC3E}">
        <p14:creationId xmlns:p14="http://schemas.microsoft.com/office/powerpoint/2010/main" val="3355229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790</Words>
  <Application>Microsoft Office PowerPoint</Application>
  <PresentationFormat>Benutzerdefiniert</PresentationFormat>
  <Paragraphs>37</Paragraphs>
  <Slides>4</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vt:i4>
      </vt:variant>
    </vt:vector>
  </HeadingPairs>
  <TitlesOfParts>
    <vt:vector size="12" baseType="lpstr">
      <vt:lpstr>Aptos</vt:lpstr>
      <vt:lpstr>Arial</vt:lpstr>
      <vt:lpstr>Calibri</vt:lpstr>
      <vt:lpstr>Century Schoolbook</vt:lpstr>
      <vt:lpstr>Montserrat</vt:lpstr>
      <vt:lpstr>Poppins</vt:lpstr>
      <vt:lpstr>1_Office Theme</vt:lpstr>
      <vt:lpstr>think-cell Folie</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David Blunck</cp:lastModifiedBy>
  <cp:revision>599</cp:revision>
  <dcterms:created xsi:type="dcterms:W3CDTF">2020-10-14T13:32:04Z</dcterms:created>
  <dcterms:modified xsi:type="dcterms:W3CDTF">2024-08-28T09:49:07Z</dcterms:modified>
</cp:coreProperties>
</file>